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4" r:id="rId4"/>
  </p:sldMasterIdLst>
  <p:notesMasterIdLst>
    <p:notesMasterId r:id="rId20"/>
  </p:notesMasterIdLst>
  <p:sldIdLst>
    <p:sldId id="256" r:id="rId5"/>
    <p:sldId id="282" r:id="rId6"/>
    <p:sldId id="275" r:id="rId7"/>
    <p:sldId id="283" r:id="rId8"/>
    <p:sldId id="276" r:id="rId9"/>
    <p:sldId id="281" r:id="rId10"/>
    <p:sldId id="285" r:id="rId11"/>
    <p:sldId id="286" r:id="rId12"/>
    <p:sldId id="287" r:id="rId13"/>
    <p:sldId id="288" r:id="rId14"/>
    <p:sldId id="289" r:id="rId15"/>
    <p:sldId id="293" r:id="rId16"/>
    <p:sldId id="290" r:id="rId17"/>
    <p:sldId id="291" r:id="rId18"/>
    <p:sldId id="284" r:id="rId19"/>
  </p:sldIdLst>
  <p:sldSz cx="9144000" cy="5143500" type="screen16x9"/>
  <p:notesSz cx="6858000" cy="9144000"/>
  <p:custDataLst>
    <p:tags r:id="rId21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33FF"/>
    <a:srgbClr val="00EFFF"/>
    <a:srgbClr val="003C71"/>
    <a:srgbClr val="DF9FFF"/>
    <a:srgbClr val="383838"/>
    <a:srgbClr val="F9F9F9"/>
    <a:srgbClr val="F7F7F7"/>
    <a:srgbClr val="FFFFFF"/>
    <a:srgbClr val="FAFAFA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86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754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E5E36F7-63EF-4DD2-8265-8B3ECB2608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DA5FC9-3B47-4EF3-B4D4-86C3FED6DBA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C01F920F-72CF-417B-9513-05D944A5CCE8}" type="datetimeFigureOut">
              <a:rPr lang="en-US"/>
              <a:pPr>
                <a:defRPr/>
              </a:pPr>
              <a:t>5/11/2022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131604E-7BCA-400E-B879-9486368A508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DF59758-CACF-421B-AC51-4DE98F3E80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F6F247-65EC-4601-BD80-DD46ED2CF7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A34997-2789-4AAA-BDFE-ABAD1694A1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93E7CE5F-7F4E-4084-94CF-0EE01BE123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0141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e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e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4.jpe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5.jpe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6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3998" cy="5144709"/>
          </a:xfrm>
          <a:prstGeom prst="rect">
            <a:avLst/>
          </a:prstGeom>
        </p:spPr>
      </p:pic>
      <p:sp>
        <p:nvSpPr>
          <p:cNvPr id="26" name="Freeform 25"/>
          <p:cNvSpPr/>
          <p:nvPr userDrawn="1"/>
        </p:nvSpPr>
        <p:spPr>
          <a:xfrm>
            <a:off x="3149601" y="1613206"/>
            <a:ext cx="3806849" cy="3530295"/>
          </a:xfrm>
          <a:custGeom>
            <a:avLst/>
            <a:gdLst>
              <a:gd name="connsiteX0" fmla="*/ 2451578 w 3806849"/>
              <a:gd name="connsiteY0" fmla="*/ 0 h 3530295"/>
              <a:gd name="connsiteX1" fmla="*/ 2667478 w 3806849"/>
              <a:gd name="connsiteY1" fmla="*/ 0 h 3530295"/>
              <a:gd name="connsiteX2" fmla="*/ 215900 w 3806849"/>
              <a:gd name="connsiteY2" fmla="*/ 3530294 h 3530295"/>
              <a:gd name="connsiteX3" fmla="*/ 3806849 w 3806849"/>
              <a:gd name="connsiteY3" fmla="*/ 3530294 h 3530295"/>
              <a:gd name="connsiteX4" fmla="*/ 3806848 w 3806849"/>
              <a:gd name="connsiteY4" fmla="*/ 3530295 h 3530295"/>
              <a:gd name="connsiteX5" fmla="*/ 0 w 3806849"/>
              <a:gd name="connsiteY5" fmla="*/ 3530295 h 353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3530295">
                <a:moveTo>
                  <a:pt x="2451578" y="0"/>
                </a:moveTo>
                <a:lnTo>
                  <a:pt x="2667478" y="0"/>
                </a:lnTo>
                <a:lnTo>
                  <a:pt x="215900" y="3530294"/>
                </a:lnTo>
                <a:lnTo>
                  <a:pt x="3806849" y="3530294"/>
                </a:lnTo>
                <a:lnTo>
                  <a:pt x="3806848" y="3530295"/>
                </a:lnTo>
                <a:lnTo>
                  <a:pt x="0" y="35302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 userDrawn="1"/>
        </p:nvSpPr>
        <p:spPr>
          <a:xfrm>
            <a:off x="2883761" y="2871371"/>
            <a:ext cx="3806849" cy="2272130"/>
          </a:xfrm>
          <a:custGeom>
            <a:avLst/>
            <a:gdLst>
              <a:gd name="connsiteX0" fmla="*/ 1577858 w 3806849"/>
              <a:gd name="connsiteY0" fmla="*/ 0 h 2272130"/>
              <a:gd name="connsiteX1" fmla="*/ 2059598 w 3806849"/>
              <a:gd name="connsiteY1" fmla="*/ 0 h 2272130"/>
              <a:gd name="connsiteX2" fmla="*/ 481740 w 3806849"/>
              <a:gd name="connsiteY2" fmla="*/ 2272129 h 2272130"/>
              <a:gd name="connsiteX3" fmla="*/ 3806849 w 3806849"/>
              <a:gd name="connsiteY3" fmla="*/ 2272129 h 2272130"/>
              <a:gd name="connsiteX4" fmla="*/ 3806848 w 3806849"/>
              <a:gd name="connsiteY4" fmla="*/ 2272130 h 2272130"/>
              <a:gd name="connsiteX5" fmla="*/ 0 w 3806849"/>
              <a:gd name="connsiteY5" fmla="*/ 2272130 h 2272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2272130">
                <a:moveTo>
                  <a:pt x="1577858" y="0"/>
                </a:moveTo>
                <a:lnTo>
                  <a:pt x="2059598" y="0"/>
                </a:lnTo>
                <a:lnTo>
                  <a:pt x="481740" y="2272129"/>
                </a:lnTo>
                <a:lnTo>
                  <a:pt x="3806849" y="2272129"/>
                </a:lnTo>
                <a:lnTo>
                  <a:pt x="3806848" y="2272130"/>
                </a:lnTo>
                <a:lnTo>
                  <a:pt x="0" y="2272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0149" y="1221581"/>
            <a:ext cx="856376" cy="204894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550149" y="1605586"/>
            <a:ext cx="2578101" cy="0"/>
          </a:xfrm>
          <a:prstGeom prst="lin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149" y="1721278"/>
            <a:ext cx="3615451" cy="13849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400" b="1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OLLABERA ENGINEERING SOLUTION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149" y="3264053"/>
            <a:ext cx="3196351" cy="498598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9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quae </a:t>
            </a:r>
            <a:r>
              <a:rPr lang="en-US" dirty="0" err="1"/>
              <a:t>ab</a:t>
            </a:r>
            <a:r>
              <a:rPr lang="en-US" dirty="0"/>
              <a:t>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explicabo</a:t>
            </a:r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67C16B9-D467-4B72-BC56-283BB9433B84}"/>
              </a:ext>
            </a:extLst>
          </p:cNvPr>
          <p:cNvSpPr/>
          <p:nvPr userDrawn="1"/>
        </p:nvSpPr>
        <p:spPr>
          <a:xfrm>
            <a:off x="3550920" y="-1"/>
            <a:ext cx="5593078" cy="5142291"/>
          </a:xfrm>
          <a:custGeom>
            <a:avLst/>
            <a:gdLst>
              <a:gd name="connsiteX0" fmla="*/ 3513470 w 5593078"/>
              <a:gd name="connsiteY0" fmla="*/ 0 h 5142291"/>
              <a:gd name="connsiteX1" fmla="*/ 5593078 w 5593078"/>
              <a:gd name="connsiteY1" fmla="*/ 0 h 5142291"/>
              <a:gd name="connsiteX2" fmla="*/ 5593078 w 5593078"/>
              <a:gd name="connsiteY2" fmla="*/ 1424535 h 5142291"/>
              <a:gd name="connsiteX3" fmla="*/ 3052921 w 5593078"/>
              <a:gd name="connsiteY3" fmla="*/ 5142291 h 5142291"/>
              <a:gd name="connsiteX4" fmla="*/ 0 w 5593078"/>
              <a:gd name="connsiteY4" fmla="*/ 5142291 h 514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3078" h="5142291">
                <a:moveTo>
                  <a:pt x="3513470" y="0"/>
                </a:moveTo>
                <a:lnTo>
                  <a:pt x="5593078" y="0"/>
                </a:lnTo>
                <a:lnTo>
                  <a:pt x="5593078" y="1424535"/>
                </a:lnTo>
                <a:lnTo>
                  <a:pt x="3052921" y="5142291"/>
                </a:lnTo>
                <a:lnTo>
                  <a:pt x="0" y="5142291"/>
                </a:lnTo>
                <a:close/>
              </a:path>
            </a:pathLst>
          </a:custGeom>
          <a:blipFill>
            <a:blip r:embed="rId4"/>
            <a:srcRect/>
            <a:stretch>
              <a:fillRect l="-88256" r="-8825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33346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8413953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053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 userDrawn="1">
          <p15:clr>
            <a:srgbClr val="A4A3A4"/>
          </p15:clr>
        </p15:guide>
        <p15:guide id="2" pos="5544" userDrawn="1">
          <p15:clr>
            <a:srgbClr val="A4A3A4"/>
          </p15:clr>
        </p15:guide>
        <p15:guide id="3" orient="horz" pos="2964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8413953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C67659-1EFE-4F27-BA60-338C591586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4922" y="1006475"/>
            <a:ext cx="8413953" cy="3565525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lang="en-US" sz="1600" smtClean="0"/>
            </a:lvl1pPr>
            <a:lvl2pPr>
              <a:defRPr lang="en-US" sz="1600" smtClean="0"/>
            </a:lvl2pPr>
            <a:lvl3pPr>
              <a:defRPr lang="en-US" sz="1600" smtClean="0"/>
            </a:lvl3pPr>
            <a:lvl4pPr>
              <a:defRPr lang="en-US" sz="1600" smtClean="0"/>
            </a:lvl4pPr>
            <a:lvl5pPr>
              <a:defRPr lang="en-IN" sz="1600"/>
            </a:lvl5pPr>
          </a:lstStyle>
          <a:p>
            <a:pPr lvl="0">
              <a:buClr>
                <a:schemeClr val="accent3"/>
              </a:buClr>
            </a:pPr>
            <a:r>
              <a:rPr lang="en-US" dirty="0"/>
              <a:t>Click to edit Master text styles</a:t>
            </a:r>
          </a:p>
          <a:p>
            <a:pPr marL="354013" lvl="1"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92618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 userDrawn="1">
          <p15:clr>
            <a:srgbClr val="A4A3A4"/>
          </p15:clr>
        </p15:guide>
        <p15:guide id="2" pos="5544" userDrawn="1">
          <p15:clr>
            <a:srgbClr val="A4A3A4"/>
          </p15:clr>
        </p15:guide>
        <p15:guide id="3" orient="horz" pos="2964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-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8413953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C67659-1EFE-4F27-BA60-338C591586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4923" y="1006475"/>
            <a:ext cx="3900770" cy="3565525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lang="en-US" sz="1600" smtClean="0"/>
            </a:lvl1pPr>
            <a:lvl2pPr>
              <a:buClr>
                <a:schemeClr val="accent3"/>
              </a:buClr>
              <a:defRPr lang="en-US" sz="1600" smtClean="0"/>
            </a:lvl2pPr>
            <a:lvl3pPr>
              <a:defRPr lang="en-US" sz="1600" smtClean="0"/>
            </a:lvl3pPr>
            <a:lvl4pPr>
              <a:defRPr lang="en-US" sz="1600" smtClean="0"/>
            </a:lvl4pPr>
            <a:lvl5pPr>
              <a:defRPr lang="en-IN" sz="1600"/>
            </a:lvl5pPr>
          </a:lstStyle>
          <a:p>
            <a:pPr lvl="0">
              <a:buClr>
                <a:schemeClr val="accent3"/>
              </a:buClr>
            </a:pPr>
            <a:r>
              <a:rPr lang="en-US" dirty="0"/>
              <a:t>Click to edit Master text styles</a:t>
            </a:r>
          </a:p>
          <a:p>
            <a:pPr marL="354013" lvl="1"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en-US" dirty="0"/>
              <a:t>Secon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CF3DD5C-DD8E-4C98-B590-1508E74824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78207" y="1006475"/>
            <a:ext cx="3900770" cy="3565525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lang="en-US" sz="1600" smtClean="0"/>
            </a:lvl1pPr>
            <a:lvl2pPr>
              <a:buClr>
                <a:schemeClr val="accent3"/>
              </a:buClr>
              <a:defRPr lang="en-US" sz="1600" smtClean="0"/>
            </a:lvl2pPr>
            <a:lvl3pPr>
              <a:defRPr lang="en-US" sz="1600" smtClean="0"/>
            </a:lvl3pPr>
            <a:lvl4pPr>
              <a:defRPr lang="en-US" sz="1600" smtClean="0"/>
            </a:lvl4pPr>
            <a:lvl5pPr>
              <a:defRPr lang="en-IN" sz="1600"/>
            </a:lvl5pPr>
          </a:lstStyle>
          <a:p>
            <a:pPr lvl="0">
              <a:buClr>
                <a:schemeClr val="accent3"/>
              </a:buClr>
            </a:pPr>
            <a:r>
              <a:rPr lang="en-US" dirty="0"/>
              <a:t>Click to edit Master text styles</a:t>
            </a:r>
          </a:p>
          <a:p>
            <a:pPr marL="354013" lvl="1"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en-US" dirty="0"/>
              <a:t>Second level</a:t>
            </a: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0CB96EEC-710A-47E2-91CF-00C2F11C926E}"/>
              </a:ext>
            </a:extLst>
          </p:cNvPr>
          <p:cNvSpPr/>
          <p:nvPr userDrawn="1"/>
        </p:nvSpPr>
        <p:spPr>
          <a:xfrm rot="5400000">
            <a:off x="4206770" y="2648489"/>
            <a:ext cx="730359" cy="28149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502E2C4E-AEF8-43A7-BA85-085E37713DF7}"/>
              </a:ext>
            </a:extLst>
          </p:cNvPr>
          <p:cNvSpPr/>
          <p:nvPr userDrawn="1"/>
        </p:nvSpPr>
        <p:spPr>
          <a:xfrm rot="5400000">
            <a:off x="4276218" y="2648490"/>
            <a:ext cx="730359" cy="281496"/>
          </a:xfrm>
          <a:prstGeom prst="triangl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30144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 userDrawn="1">
          <p15:clr>
            <a:srgbClr val="A4A3A4"/>
          </p15:clr>
        </p15:guide>
        <p15:guide id="2" pos="5544" userDrawn="1">
          <p15:clr>
            <a:srgbClr val="A4A3A4"/>
          </p15:clr>
        </p15:guide>
        <p15:guide id="3" orient="horz" pos="2964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rallelogram 1">
            <a:extLst>
              <a:ext uri="{FF2B5EF4-FFF2-40B4-BE49-F238E27FC236}">
                <a16:creationId xmlns:a16="http://schemas.microsoft.com/office/drawing/2014/main" id="{45290667-033B-49A5-A9A9-2EEDED4C41DC}"/>
              </a:ext>
            </a:extLst>
          </p:cNvPr>
          <p:cNvSpPr>
            <a:spLocks/>
          </p:cNvSpPr>
          <p:nvPr userDrawn="1"/>
        </p:nvSpPr>
        <p:spPr>
          <a:xfrm>
            <a:off x="4102787" y="1076960"/>
            <a:ext cx="4604333" cy="3050540"/>
          </a:xfrm>
          <a:prstGeom prst="parallelogram">
            <a:avLst>
              <a:gd name="adj" fmla="val 70120"/>
            </a:avLst>
          </a:prstGeom>
          <a:blipFill>
            <a:blip r:embed="rId2"/>
            <a:srcRect/>
            <a:stretch>
              <a:fillRect t="-2843" b="-284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024" y="1674065"/>
            <a:ext cx="2917372" cy="97462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ts val="38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  <a:p>
            <a:pPr lvl="0"/>
            <a:r>
              <a:rPr lang="en-US" dirty="0"/>
              <a:t>Break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024" y="2794199"/>
            <a:ext cx="2917372" cy="457048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11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We can use for all the inside slides in this way. Icons, bars and charts can overlap on the watermark arrows.</a:t>
            </a: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auto">
          <a:xfrm>
            <a:off x="4483633" y="2084413"/>
            <a:ext cx="1032508" cy="1317115"/>
          </a:xfrm>
          <a:custGeom>
            <a:avLst/>
            <a:gdLst>
              <a:gd name="connsiteX0" fmla="*/ 912120 w 1032508"/>
              <a:gd name="connsiteY0" fmla="*/ 0 h 1317115"/>
              <a:gd name="connsiteX1" fmla="*/ 1032508 w 1032508"/>
              <a:gd name="connsiteY1" fmla="*/ 0 h 1317115"/>
              <a:gd name="connsiteX2" fmla="*/ 121363 w 1032508"/>
              <a:gd name="connsiteY2" fmla="*/ 1317115 h 1317115"/>
              <a:gd name="connsiteX3" fmla="*/ 0 w 1032508"/>
              <a:gd name="connsiteY3" fmla="*/ 1317115 h 1317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2508" h="1317115">
                <a:moveTo>
                  <a:pt x="912120" y="0"/>
                </a:moveTo>
                <a:lnTo>
                  <a:pt x="1032508" y="0"/>
                </a:lnTo>
                <a:lnTo>
                  <a:pt x="121363" y="1317115"/>
                </a:lnTo>
                <a:lnTo>
                  <a:pt x="0" y="1317115"/>
                </a:lnTo>
                <a:close/>
              </a:path>
            </a:pathLst>
          </a:custGeom>
          <a:solidFill>
            <a:srgbClr val="0065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3821052" y="2817429"/>
            <a:ext cx="1188009" cy="1310071"/>
          </a:xfrm>
          <a:custGeom>
            <a:avLst/>
            <a:gdLst>
              <a:gd name="connsiteX0" fmla="*/ 911113 w 1188009"/>
              <a:gd name="connsiteY0" fmla="*/ 0 h 1310071"/>
              <a:gd name="connsiteX1" fmla="*/ 1188009 w 1188009"/>
              <a:gd name="connsiteY1" fmla="*/ 0 h 1310071"/>
              <a:gd name="connsiteX2" fmla="*/ 281736 w 1188009"/>
              <a:gd name="connsiteY2" fmla="*/ 1310071 h 1310071"/>
              <a:gd name="connsiteX3" fmla="*/ 0 w 1188009"/>
              <a:gd name="connsiteY3" fmla="*/ 1310071 h 1310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8009" h="1310071">
                <a:moveTo>
                  <a:pt x="911113" y="0"/>
                </a:moveTo>
                <a:lnTo>
                  <a:pt x="1188009" y="0"/>
                </a:lnTo>
                <a:lnTo>
                  <a:pt x="281736" y="1310071"/>
                </a:lnTo>
                <a:lnTo>
                  <a:pt x="0" y="1310071"/>
                </a:lnTo>
                <a:close/>
              </a:path>
            </a:pathLst>
          </a:custGeom>
          <a:solidFill>
            <a:srgbClr val="00A4E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9" name="Freeform 8"/>
          <p:cNvSpPr>
            <a:spLocks/>
          </p:cNvSpPr>
          <p:nvPr userDrawn="1"/>
        </p:nvSpPr>
        <p:spPr bwMode="auto">
          <a:xfrm>
            <a:off x="4102787" y="1155188"/>
            <a:ext cx="4425263" cy="2972312"/>
          </a:xfrm>
          <a:custGeom>
            <a:avLst/>
            <a:gdLst>
              <a:gd name="T0" fmla="*/ 4837 w 8796"/>
              <a:gd name="T1" fmla="*/ 5908 h 5908"/>
              <a:gd name="T2" fmla="*/ 0 w 8796"/>
              <a:gd name="T3" fmla="*/ 5908 h 5908"/>
              <a:gd name="T4" fmla="*/ 4087 w 8796"/>
              <a:gd name="T5" fmla="*/ 0 h 5908"/>
              <a:gd name="T6" fmla="*/ 8796 w 8796"/>
              <a:gd name="T7" fmla="*/ 0 h 5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96" h="5908">
                <a:moveTo>
                  <a:pt x="4837" y="5908"/>
                </a:moveTo>
                <a:lnTo>
                  <a:pt x="0" y="5908"/>
                </a:lnTo>
                <a:lnTo>
                  <a:pt x="4087" y="0"/>
                </a:lnTo>
                <a:lnTo>
                  <a:pt x="879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3312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rallelogram 1">
            <a:extLst>
              <a:ext uri="{FF2B5EF4-FFF2-40B4-BE49-F238E27FC236}">
                <a16:creationId xmlns:a16="http://schemas.microsoft.com/office/drawing/2014/main" id="{45290667-033B-49A5-A9A9-2EEDED4C41DC}"/>
              </a:ext>
            </a:extLst>
          </p:cNvPr>
          <p:cNvSpPr>
            <a:spLocks/>
          </p:cNvSpPr>
          <p:nvPr userDrawn="1"/>
        </p:nvSpPr>
        <p:spPr>
          <a:xfrm>
            <a:off x="4102787" y="1076960"/>
            <a:ext cx="4604333" cy="3050540"/>
          </a:xfrm>
          <a:prstGeom prst="parallelogram">
            <a:avLst>
              <a:gd name="adj" fmla="val 70120"/>
            </a:avLst>
          </a:prstGeom>
          <a:blipFill>
            <a:blip r:embed="rId2"/>
            <a:srcRect/>
            <a:stretch>
              <a:fillRect t="-287" b="-28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024" y="1674065"/>
            <a:ext cx="2917372" cy="97462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ts val="38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  <a:p>
            <a:pPr lvl="0"/>
            <a:r>
              <a:rPr lang="en-US" dirty="0"/>
              <a:t>Break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024" y="2794199"/>
            <a:ext cx="2917372" cy="457048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11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We can use for all the inside slides in this way. Icons, bars and charts can overlap on the watermark arrows.</a:t>
            </a: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auto">
          <a:xfrm>
            <a:off x="4483633" y="2084413"/>
            <a:ext cx="1032508" cy="1317115"/>
          </a:xfrm>
          <a:custGeom>
            <a:avLst/>
            <a:gdLst>
              <a:gd name="connsiteX0" fmla="*/ 912120 w 1032508"/>
              <a:gd name="connsiteY0" fmla="*/ 0 h 1317115"/>
              <a:gd name="connsiteX1" fmla="*/ 1032508 w 1032508"/>
              <a:gd name="connsiteY1" fmla="*/ 0 h 1317115"/>
              <a:gd name="connsiteX2" fmla="*/ 121363 w 1032508"/>
              <a:gd name="connsiteY2" fmla="*/ 1317115 h 1317115"/>
              <a:gd name="connsiteX3" fmla="*/ 0 w 1032508"/>
              <a:gd name="connsiteY3" fmla="*/ 1317115 h 1317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2508" h="1317115">
                <a:moveTo>
                  <a:pt x="912120" y="0"/>
                </a:moveTo>
                <a:lnTo>
                  <a:pt x="1032508" y="0"/>
                </a:lnTo>
                <a:lnTo>
                  <a:pt x="121363" y="1317115"/>
                </a:lnTo>
                <a:lnTo>
                  <a:pt x="0" y="1317115"/>
                </a:lnTo>
                <a:close/>
              </a:path>
            </a:pathLst>
          </a:custGeom>
          <a:solidFill>
            <a:srgbClr val="0065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3821052" y="2817429"/>
            <a:ext cx="1188009" cy="1310071"/>
          </a:xfrm>
          <a:custGeom>
            <a:avLst/>
            <a:gdLst>
              <a:gd name="connsiteX0" fmla="*/ 911113 w 1188009"/>
              <a:gd name="connsiteY0" fmla="*/ 0 h 1310071"/>
              <a:gd name="connsiteX1" fmla="*/ 1188009 w 1188009"/>
              <a:gd name="connsiteY1" fmla="*/ 0 h 1310071"/>
              <a:gd name="connsiteX2" fmla="*/ 281736 w 1188009"/>
              <a:gd name="connsiteY2" fmla="*/ 1310071 h 1310071"/>
              <a:gd name="connsiteX3" fmla="*/ 0 w 1188009"/>
              <a:gd name="connsiteY3" fmla="*/ 1310071 h 1310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8009" h="1310071">
                <a:moveTo>
                  <a:pt x="911113" y="0"/>
                </a:moveTo>
                <a:lnTo>
                  <a:pt x="1188009" y="0"/>
                </a:lnTo>
                <a:lnTo>
                  <a:pt x="281736" y="1310071"/>
                </a:lnTo>
                <a:lnTo>
                  <a:pt x="0" y="1310071"/>
                </a:lnTo>
                <a:close/>
              </a:path>
            </a:pathLst>
          </a:custGeom>
          <a:solidFill>
            <a:srgbClr val="00A4E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9" name="Freeform 8"/>
          <p:cNvSpPr>
            <a:spLocks/>
          </p:cNvSpPr>
          <p:nvPr userDrawn="1"/>
        </p:nvSpPr>
        <p:spPr bwMode="auto">
          <a:xfrm>
            <a:off x="4102787" y="1155188"/>
            <a:ext cx="4425263" cy="2972312"/>
          </a:xfrm>
          <a:custGeom>
            <a:avLst/>
            <a:gdLst>
              <a:gd name="T0" fmla="*/ 4837 w 8796"/>
              <a:gd name="T1" fmla="*/ 5908 h 5908"/>
              <a:gd name="T2" fmla="*/ 0 w 8796"/>
              <a:gd name="T3" fmla="*/ 5908 h 5908"/>
              <a:gd name="T4" fmla="*/ 4087 w 8796"/>
              <a:gd name="T5" fmla="*/ 0 h 5908"/>
              <a:gd name="T6" fmla="*/ 8796 w 8796"/>
              <a:gd name="T7" fmla="*/ 0 h 5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96" h="5908">
                <a:moveTo>
                  <a:pt x="4837" y="5908"/>
                </a:moveTo>
                <a:lnTo>
                  <a:pt x="0" y="5908"/>
                </a:lnTo>
                <a:lnTo>
                  <a:pt x="4087" y="0"/>
                </a:lnTo>
                <a:lnTo>
                  <a:pt x="879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4174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rallelogram 1">
            <a:extLst>
              <a:ext uri="{FF2B5EF4-FFF2-40B4-BE49-F238E27FC236}">
                <a16:creationId xmlns:a16="http://schemas.microsoft.com/office/drawing/2014/main" id="{45290667-033B-49A5-A9A9-2EEDED4C41DC}"/>
              </a:ext>
            </a:extLst>
          </p:cNvPr>
          <p:cNvSpPr>
            <a:spLocks/>
          </p:cNvSpPr>
          <p:nvPr userDrawn="1"/>
        </p:nvSpPr>
        <p:spPr>
          <a:xfrm>
            <a:off x="4102787" y="1076960"/>
            <a:ext cx="4604333" cy="3050540"/>
          </a:xfrm>
          <a:prstGeom prst="parallelogram">
            <a:avLst>
              <a:gd name="adj" fmla="val 70120"/>
            </a:avLst>
          </a:prstGeom>
          <a:blipFill>
            <a:blip r:embed="rId2"/>
            <a:srcRect/>
            <a:stretch>
              <a:fillRect l="-11251" r="-1125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024" y="1674065"/>
            <a:ext cx="2917372" cy="97462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ts val="38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  <a:p>
            <a:pPr lvl="0"/>
            <a:r>
              <a:rPr lang="en-US" dirty="0"/>
              <a:t>Break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024" y="2794199"/>
            <a:ext cx="2917372" cy="457048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11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We can use for all the inside slides in this way. Icons, bars and charts can overlap on the watermark arrows.</a:t>
            </a: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auto">
          <a:xfrm>
            <a:off x="4483633" y="2084413"/>
            <a:ext cx="1032508" cy="1317115"/>
          </a:xfrm>
          <a:custGeom>
            <a:avLst/>
            <a:gdLst>
              <a:gd name="connsiteX0" fmla="*/ 912120 w 1032508"/>
              <a:gd name="connsiteY0" fmla="*/ 0 h 1317115"/>
              <a:gd name="connsiteX1" fmla="*/ 1032508 w 1032508"/>
              <a:gd name="connsiteY1" fmla="*/ 0 h 1317115"/>
              <a:gd name="connsiteX2" fmla="*/ 121363 w 1032508"/>
              <a:gd name="connsiteY2" fmla="*/ 1317115 h 1317115"/>
              <a:gd name="connsiteX3" fmla="*/ 0 w 1032508"/>
              <a:gd name="connsiteY3" fmla="*/ 1317115 h 1317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2508" h="1317115">
                <a:moveTo>
                  <a:pt x="912120" y="0"/>
                </a:moveTo>
                <a:lnTo>
                  <a:pt x="1032508" y="0"/>
                </a:lnTo>
                <a:lnTo>
                  <a:pt x="121363" y="1317115"/>
                </a:lnTo>
                <a:lnTo>
                  <a:pt x="0" y="1317115"/>
                </a:lnTo>
                <a:close/>
              </a:path>
            </a:pathLst>
          </a:custGeom>
          <a:solidFill>
            <a:srgbClr val="0065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3821052" y="2817429"/>
            <a:ext cx="1188009" cy="1310071"/>
          </a:xfrm>
          <a:custGeom>
            <a:avLst/>
            <a:gdLst>
              <a:gd name="connsiteX0" fmla="*/ 911113 w 1188009"/>
              <a:gd name="connsiteY0" fmla="*/ 0 h 1310071"/>
              <a:gd name="connsiteX1" fmla="*/ 1188009 w 1188009"/>
              <a:gd name="connsiteY1" fmla="*/ 0 h 1310071"/>
              <a:gd name="connsiteX2" fmla="*/ 281736 w 1188009"/>
              <a:gd name="connsiteY2" fmla="*/ 1310071 h 1310071"/>
              <a:gd name="connsiteX3" fmla="*/ 0 w 1188009"/>
              <a:gd name="connsiteY3" fmla="*/ 1310071 h 1310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8009" h="1310071">
                <a:moveTo>
                  <a:pt x="911113" y="0"/>
                </a:moveTo>
                <a:lnTo>
                  <a:pt x="1188009" y="0"/>
                </a:lnTo>
                <a:lnTo>
                  <a:pt x="281736" y="1310071"/>
                </a:lnTo>
                <a:lnTo>
                  <a:pt x="0" y="1310071"/>
                </a:lnTo>
                <a:close/>
              </a:path>
            </a:pathLst>
          </a:custGeom>
          <a:solidFill>
            <a:srgbClr val="00A4E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9" name="Freeform 8"/>
          <p:cNvSpPr>
            <a:spLocks/>
          </p:cNvSpPr>
          <p:nvPr userDrawn="1"/>
        </p:nvSpPr>
        <p:spPr bwMode="auto">
          <a:xfrm>
            <a:off x="4102787" y="1155188"/>
            <a:ext cx="4425263" cy="2972312"/>
          </a:xfrm>
          <a:custGeom>
            <a:avLst/>
            <a:gdLst>
              <a:gd name="T0" fmla="*/ 4837 w 8796"/>
              <a:gd name="T1" fmla="*/ 5908 h 5908"/>
              <a:gd name="T2" fmla="*/ 0 w 8796"/>
              <a:gd name="T3" fmla="*/ 5908 h 5908"/>
              <a:gd name="T4" fmla="*/ 4087 w 8796"/>
              <a:gd name="T5" fmla="*/ 0 h 5908"/>
              <a:gd name="T6" fmla="*/ 8796 w 8796"/>
              <a:gd name="T7" fmla="*/ 0 h 5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96" h="5908">
                <a:moveTo>
                  <a:pt x="4837" y="5908"/>
                </a:moveTo>
                <a:lnTo>
                  <a:pt x="0" y="5908"/>
                </a:lnTo>
                <a:lnTo>
                  <a:pt x="4087" y="0"/>
                </a:lnTo>
                <a:lnTo>
                  <a:pt x="879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6609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024" y="1674065"/>
            <a:ext cx="2917372" cy="97462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ts val="38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  <a:p>
            <a:pPr lvl="0"/>
            <a:r>
              <a:rPr lang="en-US" dirty="0"/>
              <a:t>Break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024" y="2794199"/>
            <a:ext cx="2917372" cy="457048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11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We can use for all the inside slides in this way. Icons, bars and charts can overlap on the watermark arrows.</a:t>
            </a: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auto">
          <a:xfrm>
            <a:off x="4483633" y="2084413"/>
            <a:ext cx="1032508" cy="1317115"/>
          </a:xfrm>
          <a:custGeom>
            <a:avLst/>
            <a:gdLst>
              <a:gd name="connsiteX0" fmla="*/ 912120 w 1032508"/>
              <a:gd name="connsiteY0" fmla="*/ 0 h 1317115"/>
              <a:gd name="connsiteX1" fmla="*/ 1032508 w 1032508"/>
              <a:gd name="connsiteY1" fmla="*/ 0 h 1317115"/>
              <a:gd name="connsiteX2" fmla="*/ 121363 w 1032508"/>
              <a:gd name="connsiteY2" fmla="*/ 1317115 h 1317115"/>
              <a:gd name="connsiteX3" fmla="*/ 0 w 1032508"/>
              <a:gd name="connsiteY3" fmla="*/ 1317115 h 1317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2508" h="1317115">
                <a:moveTo>
                  <a:pt x="912120" y="0"/>
                </a:moveTo>
                <a:lnTo>
                  <a:pt x="1032508" y="0"/>
                </a:lnTo>
                <a:lnTo>
                  <a:pt x="121363" y="1317115"/>
                </a:lnTo>
                <a:lnTo>
                  <a:pt x="0" y="1317115"/>
                </a:lnTo>
                <a:close/>
              </a:path>
            </a:pathLst>
          </a:custGeom>
          <a:solidFill>
            <a:srgbClr val="0065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3821052" y="2817429"/>
            <a:ext cx="1188009" cy="1310071"/>
          </a:xfrm>
          <a:custGeom>
            <a:avLst/>
            <a:gdLst>
              <a:gd name="connsiteX0" fmla="*/ 911113 w 1188009"/>
              <a:gd name="connsiteY0" fmla="*/ 0 h 1310071"/>
              <a:gd name="connsiteX1" fmla="*/ 1188009 w 1188009"/>
              <a:gd name="connsiteY1" fmla="*/ 0 h 1310071"/>
              <a:gd name="connsiteX2" fmla="*/ 281736 w 1188009"/>
              <a:gd name="connsiteY2" fmla="*/ 1310071 h 1310071"/>
              <a:gd name="connsiteX3" fmla="*/ 0 w 1188009"/>
              <a:gd name="connsiteY3" fmla="*/ 1310071 h 1310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8009" h="1310071">
                <a:moveTo>
                  <a:pt x="911113" y="0"/>
                </a:moveTo>
                <a:lnTo>
                  <a:pt x="1188009" y="0"/>
                </a:lnTo>
                <a:lnTo>
                  <a:pt x="281736" y="1310071"/>
                </a:lnTo>
                <a:lnTo>
                  <a:pt x="0" y="1310071"/>
                </a:lnTo>
                <a:close/>
              </a:path>
            </a:pathLst>
          </a:custGeom>
          <a:solidFill>
            <a:srgbClr val="00A4E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9" name="Freeform 8"/>
          <p:cNvSpPr>
            <a:spLocks/>
          </p:cNvSpPr>
          <p:nvPr userDrawn="1"/>
        </p:nvSpPr>
        <p:spPr bwMode="auto">
          <a:xfrm>
            <a:off x="4102787" y="1155188"/>
            <a:ext cx="4425263" cy="2972312"/>
          </a:xfrm>
          <a:custGeom>
            <a:avLst/>
            <a:gdLst>
              <a:gd name="T0" fmla="*/ 4837 w 8796"/>
              <a:gd name="T1" fmla="*/ 5908 h 5908"/>
              <a:gd name="T2" fmla="*/ 0 w 8796"/>
              <a:gd name="T3" fmla="*/ 5908 h 5908"/>
              <a:gd name="T4" fmla="*/ 4087 w 8796"/>
              <a:gd name="T5" fmla="*/ 0 h 5908"/>
              <a:gd name="T6" fmla="*/ 8796 w 8796"/>
              <a:gd name="T7" fmla="*/ 0 h 5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96" h="5908">
                <a:moveTo>
                  <a:pt x="4837" y="5908"/>
                </a:moveTo>
                <a:lnTo>
                  <a:pt x="0" y="5908"/>
                </a:lnTo>
                <a:lnTo>
                  <a:pt x="4087" y="0"/>
                </a:lnTo>
                <a:lnTo>
                  <a:pt x="879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6" name="Picture Placeholder 15"/>
          <p:cNvSpPr>
            <a:spLocks noGrp="1"/>
          </p:cNvSpPr>
          <p:nvPr>
            <p:ph type="pic" sz="quarter" idx="13"/>
          </p:nvPr>
        </p:nvSpPr>
        <p:spPr>
          <a:xfrm>
            <a:off x="4102787" y="1076959"/>
            <a:ext cx="4604333" cy="3050540"/>
          </a:xfrm>
          <a:custGeom>
            <a:avLst/>
            <a:gdLst>
              <a:gd name="connsiteX0" fmla="*/ 2139039 w 4604333"/>
              <a:gd name="connsiteY0" fmla="*/ 0 h 3050540"/>
              <a:gd name="connsiteX1" fmla="*/ 4604333 w 4604333"/>
              <a:gd name="connsiteY1" fmla="*/ 0 h 3050540"/>
              <a:gd name="connsiteX2" fmla="*/ 2465294 w 4604333"/>
              <a:gd name="connsiteY2" fmla="*/ 3050540 h 3050540"/>
              <a:gd name="connsiteX3" fmla="*/ 0 w 4604333"/>
              <a:gd name="connsiteY3" fmla="*/ 3050540 h 305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04333" h="3050540">
                <a:moveTo>
                  <a:pt x="2139039" y="0"/>
                </a:moveTo>
                <a:lnTo>
                  <a:pt x="4604333" y="0"/>
                </a:lnTo>
                <a:lnTo>
                  <a:pt x="2465294" y="3050540"/>
                </a:lnTo>
                <a:lnTo>
                  <a:pt x="0" y="30505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6498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0AB5862-F56E-4D7C-BF5E-F65605F90851}"/>
              </a:ext>
            </a:extLst>
          </p:cNvPr>
          <p:cNvSpPr/>
          <p:nvPr userDrawn="1"/>
        </p:nvSpPr>
        <p:spPr>
          <a:xfrm flipH="1">
            <a:off x="0" y="-1"/>
            <a:ext cx="5370650" cy="5143499"/>
          </a:xfrm>
          <a:custGeom>
            <a:avLst/>
            <a:gdLst>
              <a:gd name="connsiteX0" fmla="*/ 5370650 w 5370650"/>
              <a:gd name="connsiteY0" fmla="*/ 0 h 5143499"/>
              <a:gd name="connsiteX1" fmla="*/ 3094380 w 5370650"/>
              <a:gd name="connsiteY1" fmla="*/ 0 h 5143499"/>
              <a:gd name="connsiteX2" fmla="*/ 0 w 5370650"/>
              <a:gd name="connsiteY2" fmla="*/ 5143499 h 5143499"/>
              <a:gd name="connsiteX3" fmla="*/ 2560751 w 5370650"/>
              <a:gd name="connsiteY3" fmla="*/ 5143499 h 5143499"/>
              <a:gd name="connsiteX4" fmla="*/ 5370650 w 5370650"/>
              <a:gd name="connsiteY4" fmla="*/ 472866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50" h="5143499">
                <a:moveTo>
                  <a:pt x="5370650" y="0"/>
                </a:moveTo>
                <a:lnTo>
                  <a:pt x="3094380" y="0"/>
                </a:lnTo>
                <a:lnTo>
                  <a:pt x="0" y="5143499"/>
                </a:lnTo>
                <a:lnTo>
                  <a:pt x="2560751" y="5143499"/>
                </a:lnTo>
                <a:lnTo>
                  <a:pt x="5370650" y="472866"/>
                </a:lnTo>
                <a:close/>
              </a:path>
            </a:pathLst>
          </a:custGeom>
          <a:blipFill>
            <a:blip r:embed="rId2"/>
            <a:srcRect/>
            <a:stretch>
              <a:fillRect l="-19145" r="-2444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3E1A4B8-7018-4521-B2B6-CC160B59CD99}"/>
              </a:ext>
            </a:extLst>
          </p:cNvPr>
          <p:cNvSpPr/>
          <p:nvPr userDrawn="1"/>
        </p:nvSpPr>
        <p:spPr>
          <a:xfrm flipH="1">
            <a:off x="0" y="3173995"/>
            <a:ext cx="2865120" cy="1969505"/>
          </a:xfrm>
          <a:custGeom>
            <a:avLst/>
            <a:gdLst>
              <a:gd name="connsiteX0" fmla="*/ 0 w 6858000"/>
              <a:gd name="connsiteY0" fmla="*/ 4714240 h 4714240"/>
              <a:gd name="connsiteX1" fmla="*/ 6858000 w 6858000"/>
              <a:gd name="connsiteY1" fmla="*/ 4714240 h 4714240"/>
              <a:gd name="connsiteX2" fmla="*/ 6858000 w 6858000"/>
              <a:gd name="connsiteY2" fmla="*/ 0 h 4714240"/>
              <a:gd name="connsiteX3" fmla="*/ 2816004 w 6858000"/>
              <a:gd name="connsiteY3" fmla="*/ 0 h 471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714240">
                <a:moveTo>
                  <a:pt x="0" y="4714240"/>
                </a:moveTo>
                <a:lnTo>
                  <a:pt x="6858000" y="4714240"/>
                </a:lnTo>
                <a:lnTo>
                  <a:pt x="6858000" y="0"/>
                </a:lnTo>
                <a:lnTo>
                  <a:pt x="2816004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IN" dirty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C19338F-08C6-41E8-9509-36ED3E33A065}"/>
              </a:ext>
            </a:extLst>
          </p:cNvPr>
          <p:cNvSpPr/>
          <p:nvPr userDrawn="1"/>
        </p:nvSpPr>
        <p:spPr>
          <a:xfrm flipV="1">
            <a:off x="2286000" y="0"/>
            <a:ext cx="6858000" cy="4714240"/>
          </a:xfrm>
          <a:custGeom>
            <a:avLst/>
            <a:gdLst>
              <a:gd name="connsiteX0" fmla="*/ 0 w 6858000"/>
              <a:gd name="connsiteY0" fmla="*/ 4714240 h 4714240"/>
              <a:gd name="connsiteX1" fmla="*/ 6858000 w 6858000"/>
              <a:gd name="connsiteY1" fmla="*/ 4714240 h 4714240"/>
              <a:gd name="connsiteX2" fmla="*/ 6858000 w 6858000"/>
              <a:gd name="connsiteY2" fmla="*/ 0 h 4714240"/>
              <a:gd name="connsiteX3" fmla="*/ 2816004 w 6858000"/>
              <a:gd name="connsiteY3" fmla="*/ 0 h 471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714240">
                <a:moveTo>
                  <a:pt x="0" y="4714240"/>
                </a:moveTo>
                <a:lnTo>
                  <a:pt x="6858000" y="4714240"/>
                </a:lnTo>
                <a:lnTo>
                  <a:pt x="6858000" y="0"/>
                </a:lnTo>
                <a:lnTo>
                  <a:pt x="281600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AE66EA8E-8A1F-4BA0-BB77-7DA8A4E1AD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38924" y="0"/>
            <a:ext cx="6805075" cy="471424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5458D77-BF08-4283-8180-8F2844EBBF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7675" y="807105"/>
            <a:ext cx="3921125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406BAD-7984-4431-A361-03606058FE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57675" y="1473200"/>
            <a:ext cx="392112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>
              <a:buNone/>
              <a:defRPr lang="en-US" sz="2000" smtClean="0">
                <a:solidFill>
                  <a:schemeClr val="bg1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marL="0" lvl="0" indent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56986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7CE210E-6D49-422F-9CAC-644742C77AD0}"/>
              </a:ext>
            </a:extLst>
          </p:cNvPr>
          <p:cNvSpPr/>
          <p:nvPr userDrawn="1"/>
        </p:nvSpPr>
        <p:spPr>
          <a:xfrm>
            <a:off x="0" y="0"/>
            <a:ext cx="5370650" cy="5143499"/>
          </a:xfrm>
          <a:custGeom>
            <a:avLst/>
            <a:gdLst>
              <a:gd name="connsiteX0" fmla="*/ 0 w 5370650"/>
              <a:gd name="connsiteY0" fmla="*/ 0 h 5143499"/>
              <a:gd name="connsiteX1" fmla="*/ 2276270 w 5370650"/>
              <a:gd name="connsiteY1" fmla="*/ 0 h 5143499"/>
              <a:gd name="connsiteX2" fmla="*/ 5370650 w 5370650"/>
              <a:gd name="connsiteY2" fmla="*/ 5143499 h 5143499"/>
              <a:gd name="connsiteX3" fmla="*/ 2809899 w 5370650"/>
              <a:gd name="connsiteY3" fmla="*/ 5143499 h 5143499"/>
              <a:gd name="connsiteX4" fmla="*/ 0 w 5370650"/>
              <a:gd name="connsiteY4" fmla="*/ 472866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50" h="5143499">
                <a:moveTo>
                  <a:pt x="0" y="0"/>
                </a:moveTo>
                <a:lnTo>
                  <a:pt x="2276270" y="0"/>
                </a:lnTo>
                <a:lnTo>
                  <a:pt x="5370650" y="5143499"/>
                </a:lnTo>
                <a:lnTo>
                  <a:pt x="2809899" y="5143499"/>
                </a:lnTo>
                <a:lnTo>
                  <a:pt x="0" y="472866"/>
                </a:lnTo>
                <a:close/>
              </a:path>
            </a:pathLst>
          </a:custGeom>
          <a:blipFill>
            <a:blip r:embed="rId2"/>
            <a:srcRect/>
            <a:stretch>
              <a:fillRect l="-16339" r="-5442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3E1A4B8-7018-4521-B2B6-CC160B59CD99}"/>
              </a:ext>
            </a:extLst>
          </p:cNvPr>
          <p:cNvSpPr/>
          <p:nvPr userDrawn="1"/>
        </p:nvSpPr>
        <p:spPr>
          <a:xfrm flipH="1">
            <a:off x="0" y="3173995"/>
            <a:ext cx="2865120" cy="1969505"/>
          </a:xfrm>
          <a:custGeom>
            <a:avLst/>
            <a:gdLst>
              <a:gd name="connsiteX0" fmla="*/ 0 w 6858000"/>
              <a:gd name="connsiteY0" fmla="*/ 4714240 h 4714240"/>
              <a:gd name="connsiteX1" fmla="*/ 6858000 w 6858000"/>
              <a:gd name="connsiteY1" fmla="*/ 4714240 h 4714240"/>
              <a:gd name="connsiteX2" fmla="*/ 6858000 w 6858000"/>
              <a:gd name="connsiteY2" fmla="*/ 0 h 4714240"/>
              <a:gd name="connsiteX3" fmla="*/ 2816004 w 6858000"/>
              <a:gd name="connsiteY3" fmla="*/ 0 h 471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714240">
                <a:moveTo>
                  <a:pt x="0" y="4714240"/>
                </a:moveTo>
                <a:lnTo>
                  <a:pt x="6858000" y="4714240"/>
                </a:lnTo>
                <a:lnTo>
                  <a:pt x="6858000" y="0"/>
                </a:lnTo>
                <a:lnTo>
                  <a:pt x="2816004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IN" dirty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C19338F-08C6-41E8-9509-36ED3E33A065}"/>
              </a:ext>
            </a:extLst>
          </p:cNvPr>
          <p:cNvSpPr/>
          <p:nvPr userDrawn="1"/>
        </p:nvSpPr>
        <p:spPr>
          <a:xfrm flipV="1">
            <a:off x="2286000" y="0"/>
            <a:ext cx="6858000" cy="4714240"/>
          </a:xfrm>
          <a:custGeom>
            <a:avLst/>
            <a:gdLst>
              <a:gd name="connsiteX0" fmla="*/ 0 w 6858000"/>
              <a:gd name="connsiteY0" fmla="*/ 4714240 h 4714240"/>
              <a:gd name="connsiteX1" fmla="*/ 6858000 w 6858000"/>
              <a:gd name="connsiteY1" fmla="*/ 4714240 h 4714240"/>
              <a:gd name="connsiteX2" fmla="*/ 6858000 w 6858000"/>
              <a:gd name="connsiteY2" fmla="*/ 0 h 4714240"/>
              <a:gd name="connsiteX3" fmla="*/ 2816004 w 6858000"/>
              <a:gd name="connsiteY3" fmla="*/ 0 h 471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714240">
                <a:moveTo>
                  <a:pt x="0" y="4714240"/>
                </a:moveTo>
                <a:lnTo>
                  <a:pt x="6858000" y="4714240"/>
                </a:lnTo>
                <a:lnTo>
                  <a:pt x="6858000" y="0"/>
                </a:lnTo>
                <a:lnTo>
                  <a:pt x="281600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AE66EA8E-8A1F-4BA0-BB77-7DA8A4E1AD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38924" y="0"/>
            <a:ext cx="6805075" cy="471424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5458D77-BF08-4283-8180-8F2844EBBF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7675" y="807105"/>
            <a:ext cx="3921125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406BAD-7984-4431-A361-03606058FE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57675" y="1473200"/>
            <a:ext cx="392112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>
              <a:buNone/>
              <a:defRPr lang="en-US" sz="2000" smtClean="0">
                <a:solidFill>
                  <a:schemeClr val="bg1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marL="0" lvl="0" indent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09486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7CE210E-6D49-422F-9CAC-644742C77AD0}"/>
              </a:ext>
            </a:extLst>
          </p:cNvPr>
          <p:cNvSpPr/>
          <p:nvPr userDrawn="1"/>
        </p:nvSpPr>
        <p:spPr>
          <a:xfrm>
            <a:off x="0" y="0"/>
            <a:ext cx="5370650" cy="5143499"/>
          </a:xfrm>
          <a:custGeom>
            <a:avLst/>
            <a:gdLst>
              <a:gd name="connsiteX0" fmla="*/ 0 w 5370650"/>
              <a:gd name="connsiteY0" fmla="*/ 0 h 5143499"/>
              <a:gd name="connsiteX1" fmla="*/ 2276270 w 5370650"/>
              <a:gd name="connsiteY1" fmla="*/ 0 h 5143499"/>
              <a:gd name="connsiteX2" fmla="*/ 5370650 w 5370650"/>
              <a:gd name="connsiteY2" fmla="*/ 5143499 h 5143499"/>
              <a:gd name="connsiteX3" fmla="*/ 2809899 w 5370650"/>
              <a:gd name="connsiteY3" fmla="*/ 5143499 h 5143499"/>
              <a:gd name="connsiteX4" fmla="*/ 0 w 5370650"/>
              <a:gd name="connsiteY4" fmla="*/ 472866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50" h="5143499">
                <a:moveTo>
                  <a:pt x="0" y="0"/>
                </a:moveTo>
                <a:lnTo>
                  <a:pt x="2276270" y="0"/>
                </a:lnTo>
                <a:lnTo>
                  <a:pt x="5370650" y="5143499"/>
                </a:lnTo>
                <a:lnTo>
                  <a:pt x="2809899" y="5143499"/>
                </a:lnTo>
                <a:lnTo>
                  <a:pt x="0" y="472866"/>
                </a:lnTo>
                <a:close/>
              </a:path>
            </a:pathLst>
          </a:custGeom>
          <a:blipFill>
            <a:blip r:embed="rId2"/>
            <a:srcRect/>
            <a:stretch>
              <a:fillRect l="-21793" r="-217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3E1A4B8-7018-4521-B2B6-CC160B59CD99}"/>
              </a:ext>
            </a:extLst>
          </p:cNvPr>
          <p:cNvSpPr/>
          <p:nvPr userDrawn="1"/>
        </p:nvSpPr>
        <p:spPr>
          <a:xfrm flipH="1">
            <a:off x="0" y="3173995"/>
            <a:ext cx="2865120" cy="1969505"/>
          </a:xfrm>
          <a:custGeom>
            <a:avLst/>
            <a:gdLst>
              <a:gd name="connsiteX0" fmla="*/ 0 w 6858000"/>
              <a:gd name="connsiteY0" fmla="*/ 4714240 h 4714240"/>
              <a:gd name="connsiteX1" fmla="*/ 6858000 w 6858000"/>
              <a:gd name="connsiteY1" fmla="*/ 4714240 h 4714240"/>
              <a:gd name="connsiteX2" fmla="*/ 6858000 w 6858000"/>
              <a:gd name="connsiteY2" fmla="*/ 0 h 4714240"/>
              <a:gd name="connsiteX3" fmla="*/ 2816004 w 6858000"/>
              <a:gd name="connsiteY3" fmla="*/ 0 h 471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714240">
                <a:moveTo>
                  <a:pt x="0" y="4714240"/>
                </a:moveTo>
                <a:lnTo>
                  <a:pt x="6858000" y="4714240"/>
                </a:lnTo>
                <a:lnTo>
                  <a:pt x="6858000" y="0"/>
                </a:lnTo>
                <a:lnTo>
                  <a:pt x="2816004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IN" dirty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C19338F-08C6-41E8-9509-36ED3E33A065}"/>
              </a:ext>
            </a:extLst>
          </p:cNvPr>
          <p:cNvSpPr/>
          <p:nvPr userDrawn="1"/>
        </p:nvSpPr>
        <p:spPr>
          <a:xfrm flipV="1">
            <a:off x="2286000" y="0"/>
            <a:ext cx="6858000" cy="4714240"/>
          </a:xfrm>
          <a:custGeom>
            <a:avLst/>
            <a:gdLst>
              <a:gd name="connsiteX0" fmla="*/ 0 w 6858000"/>
              <a:gd name="connsiteY0" fmla="*/ 4714240 h 4714240"/>
              <a:gd name="connsiteX1" fmla="*/ 6858000 w 6858000"/>
              <a:gd name="connsiteY1" fmla="*/ 4714240 h 4714240"/>
              <a:gd name="connsiteX2" fmla="*/ 6858000 w 6858000"/>
              <a:gd name="connsiteY2" fmla="*/ 0 h 4714240"/>
              <a:gd name="connsiteX3" fmla="*/ 2816004 w 6858000"/>
              <a:gd name="connsiteY3" fmla="*/ 0 h 471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714240">
                <a:moveTo>
                  <a:pt x="0" y="4714240"/>
                </a:moveTo>
                <a:lnTo>
                  <a:pt x="6858000" y="4714240"/>
                </a:lnTo>
                <a:lnTo>
                  <a:pt x="6858000" y="0"/>
                </a:lnTo>
                <a:lnTo>
                  <a:pt x="281600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AE66EA8E-8A1F-4BA0-BB77-7DA8A4E1AD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38924" y="0"/>
            <a:ext cx="6805075" cy="471424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5458D77-BF08-4283-8180-8F2844EBBF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7675" y="807105"/>
            <a:ext cx="3921125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406BAD-7984-4431-A361-03606058FE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57675" y="1473200"/>
            <a:ext cx="392112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>
              <a:buNone/>
              <a:defRPr lang="en-US" sz="2000" smtClean="0">
                <a:solidFill>
                  <a:schemeClr val="bg1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marL="0" lvl="0" indent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9658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3998" cy="5144709"/>
          </a:xfrm>
          <a:prstGeom prst="rect">
            <a:avLst/>
          </a:prstGeom>
        </p:spPr>
      </p:pic>
      <p:sp>
        <p:nvSpPr>
          <p:cNvPr id="26" name="Freeform 25"/>
          <p:cNvSpPr/>
          <p:nvPr userDrawn="1"/>
        </p:nvSpPr>
        <p:spPr>
          <a:xfrm>
            <a:off x="3149601" y="1613206"/>
            <a:ext cx="3806849" cy="3530295"/>
          </a:xfrm>
          <a:custGeom>
            <a:avLst/>
            <a:gdLst>
              <a:gd name="connsiteX0" fmla="*/ 2451578 w 3806849"/>
              <a:gd name="connsiteY0" fmla="*/ 0 h 3530295"/>
              <a:gd name="connsiteX1" fmla="*/ 2667478 w 3806849"/>
              <a:gd name="connsiteY1" fmla="*/ 0 h 3530295"/>
              <a:gd name="connsiteX2" fmla="*/ 215900 w 3806849"/>
              <a:gd name="connsiteY2" fmla="*/ 3530294 h 3530295"/>
              <a:gd name="connsiteX3" fmla="*/ 3806849 w 3806849"/>
              <a:gd name="connsiteY3" fmla="*/ 3530294 h 3530295"/>
              <a:gd name="connsiteX4" fmla="*/ 3806848 w 3806849"/>
              <a:gd name="connsiteY4" fmla="*/ 3530295 h 3530295"/>
              <a:gd name="connsiteX5" fmla="*/ 0 w 3806849"/>
              <a:gd name="connsiteY5" fmla="*/ 3530295 h 353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3530295">
                <a:moveTo>
                  <a:pt x="2451578" y="0"/>
                </a:moveTo>
                <a:lnTo>
                  <a:pt x="2667478" y="0"/>
                </a:lnTo>
                <a:lnTo>
                  <a:pt x="215900" y="3530294"/>
                </a:lnTo>
                <a:lnTo>
                  <a:pt x="3806849" y="3530294"/>
                </a:lnTo>
                <a:lnTo>
                  <a:pt x="3806848" y="3530295"/>
                </a:lnTo>
                <a:lnTo>
                  <a:pt x="0" y="35302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 userDrawn="1"/>
        </p:nvSpPr>
        <p:spPr>
          <a:xfrm>
            <a:off x="2883761" y="2871371"/>
            <a:ext cx="3806849" cy="2272130"/>
          </a:xfrm>
          <a:custGeom>
            <a:avLst/>
            <a:gdLst>
              <a:gd name="connsiteX0" fmla="*/ 1577858 w 3806849"/>
              <a:gd name="connsiteY0" fmla="*/ 0 h 2272130"/>
              <a:gd name="connsiteX1" fmla="*/ 2059598 w 3806849"/>
              <a:gd name="connsiteY1" fmla="*/ 0 h 2272130"/>
              <a:gd name="connsiteX2" fmla="*/ 481740 w 3806849"/>
              <a:gd name="connsiteY2" fmla="*/ 2272129 h 2272130"/>
              <a:gd name="connsiteX3" fmla="*/ 3806849 w 3806849"/>
              <a:gd name="connsiteY3" fmla="*/ 2272129 h 2272130"/>
              <a:gd name="connsiteX4" fmla="*/ 3806848 w 3806849"/>
              <a:gd name="connsiteY4" fmla="*/ 2272130 h 2272130"/>
              <a:gd name="connsiteX5" fmla="*/ 0 w 3806849"/>
              <a:gd name="connsiteY5" fmla="*/ 2272130 h 2272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2272130">
                <a:moveTo>
                  <a:pt x="1577858" y="0"/>
                </a:moveTo>
                <a:lnTo>
                  <a:pt x="2059598" y="0"/>
                </a:lnTo>
                <a:lnTo>
                  <a:pt x="481740" y="2272129"/>
                </a:lnTo>
                <a:lnTo>
                  <a:pt x="3806849" y="2272129"/>
                </a:lnTo>
                <a:lnTo>
                  <a:pt x="3806848" y="2272130"/>
                </a:lnTo>
                <a:lnTo>
                  <a:pt x="0" y="2272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0149" y="1221581"/>
            <a:ext cx="856376" cy="204894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550149" y="1605586"/>
            <a:ext cx="2578101" cy="0"/>
          </a:xfrm>
          <a:prstGeom prst="lin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149" y="1721278"/>
            <a:ext cx="3615451" cy="13849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400" b="1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OLLABERA ENGINEERING SOLUTION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149" y="3264053"/>
            <a:ext cx="3196351" cy="498598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9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quae </a:t>
            </a:r>
            <a:r>
              <a:rPr lang="en-US" dirty="0" err="1"/>
              <a:t>ab</a:t>
            </a:r>
            <a:r>
              <a:rPr lang="en-US" dirty="0"/>
              <a:t>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explicabo</a:t>
            </a:r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67C16B9-D467-4B72-BC56-283BB9433B84}"/>
              </a:ext>
            </a:extLst>
          </p:cNvPr>
          <p:cNvSpPr/>
          <p:nvPr userDrawn="1"/>
        </p:nvSpPr>
        <p:spPr>
          <a:xfrm>
            <a:off x="3550920" y="-1"/>
            <a:ext cx="5593078" cy="5142291"/>
          </a:xfrm>
          <a:custGeom>
            <a:avLst/>
            <a:gdLst>
              <a:gd name="connsiteX0" fmla="*/ 3513470 w 5593078"/>
              <a:gd name="connsiteY0" fmla="*/ 0 h 5142291"/>
              <a:gd name="connsiteX1" fmla="*/ 5593078 w 5593078"/>
              <a:gd name="connsiteY1" fmla="*/ 0 h 5142291"/>
              <a:gd name="connsiteX2" fmla="*/ 5593078 w 5593078"/>
              <a:gd name="connsiteY2" fmla="*/ 1424535 h 5142291"/>
              <a:gd name="connsiteX3" fmla="*/ 3052921 w 5593078"/>
              <a:gd name="connsiteY3" fmla="*/ 5142291 h 5142291"/>
              <a:gd name="connsiteX4" fmla="*/ 0 w 5593078"/>
              <a:gd name="connsiteY4" fmla="*/ 5142291 h 514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3078" h="5142291">
                <a:moveTo>
                  <a:pt x="3513470" y="0"/>
                </a:moveTo>
                <a:lnTo>
                  <a:pt x="5593078" y="0"/>
                </a:lnTo>
                <a:lnTo>
                  <a:pt x="5593078" y="1424535"/>
                </a:lnTo>
                <a:lnTo>
                  <a:pt x="3052921" y="5142291"/>
                </a:lnTo>
                <a:lnTo>
                  <a:pt x="0" y="5142291"/>
                </a:lnTo>
                <a:close/>
              </a:path>
            </a:pathLst>
          </a:custGeom>
          <a:blipFill>
            <a:blip r:embed="rId4"/>
            <a:srcRect/>
            <a:stretch>
              <a:fillRect l="-15039" r="-150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185426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3E1A4B8-7018-4521-B2B6-CC160B59CD99}"/>
              </a:ext>
            </a:extLst>
          </p:cNvPr>
          <p:cNvSpPr/>
          <p:nvPr userDrawn="1"/>
        </p:nvSpPr>
        <p:spPr>
          <a:xfrm flipH="1">
            <a:off x="0" y="3173995"/>
            <a:ext cx="2865120" cy="1969505"/>
          </a:xfrm>
          <a:custGeom>
            <a:avLst/>
            <a:gdLst>
              <a:gd name="connsiteX0" fmla="*/ 0 w 6858000"/>
              <a:gd name="connsiteY0" fmla="*/ 4714240 h 4714240"/>
              <a:gd name="connsiteX1" fmla="*/ 6858000 w 6858000"/>
              <a:gd name="connsiteY1" fmla="*/ 4714240 h 4714240"/>
              <a:gd name="connsiteX2" fmla="*/ 6858000 w 6858000"/>
              <a:gd name="connsiteY2" fmla="*/ 0 h 4714240"/>
              <a:gd name="connsiteX3" fmla="*/ 2816004 w 6858000"/>
              <a:gd name="connsiteY3" fmla="*/ 0 h 471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714240">
                <a:moveTo>
                  <a:pt x="0" y="4714240"/>
                </a:moveTo>
                <a:lnTo>
                  <a:pt x="6858000" y="4714240"/>
                </a:lnTo>
                <a:lnTo>
                  <a:pt x="6858000" y="0"/>
                </a:lnTo>
                <a:lnTo>
                  <a:pt x="2816004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IN" dirty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C19338F-08C6-41E8-9509-36ED3E33A065}"/>
              </a:ext>
            </a:extLst>
          </p:cNvPr>
          <p:cNvSpPr/>
          <p:nvPr userDrawn="1"/>
        </p:nvSpPr>
        <p:spPr>
          <a:xfrm flipV="1">
            <a:off x="2286000" y="0"/>
            <a:ext cx="6858000" cy="4714240"/>
          </a:xfrm>
          <a:custGeom>
            <a:avLst/>
            <a:gdLst>
              <a:gd name="connsiteX0" fmla="*/ 0 w 6858000"/>
              <a:gd name="connsiteY0" fmla="*/ 4714240 h 4714240"/>
              <a:gd name="connsiteX1" fmla="*/ 6858000 w 6858000"/>
              <a:gd name="connsiteY1" fmla="*/ 4714240 h 4714240"/>
              <a:gd name="connsiteX2" fmla="*/ 6858000 w 6858000"/>
              <a:gd name="connsiteY2" fmla="*/ 0 h 4714240"/>
              <a:gd name="connsiteX3" fmla="*/ 2816004 w 6858000"/>
              <a:gd name="connsiteY3" fmla="*/ 0 h 471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714240">
                <a:moveTo>
                  <a:pt x="0" y="4714240"/>
                </a:moveTo>
                <a:lnTo>
                  <a:pt x="6858000" y="4714240"/>
                </a:lnTo>
                <a:lnTo>
                  <a:pt x="6858000" y="0"/>
                </a:lnTo>
                <a:lnTo>
                  <a:pt x="281600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AE66EA8E-8A1F-4BA0-BB77-7DA8A4E1ADE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38924" y="0"/>
            <a:ext cx="6805075" cy="4714240"/>
          </a:xfrm>
          <a:prstGeom prst="rect">
            <a:avLst/>
          </a:prstGeom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370650" cy="5143499"/>
          </a:xfrm>
          <a:custGeom>
            <a:avLst/>
            <a:gdLst>
              <a:gd name="connsiteX0" fmla="*/ 0 w 5370650"/>
              <a:gd name="connsiteY0" fmla="*/ 0 h 5143499"/>
              <a:gd name="connsiteX1" fmla="*/ 2276270 w 5370650"/>
              <a:gd name="connsiteY1" fmla="*/ 0 h 5143499"/>
              <a:gd name="connsiteX2" fmla="*/ 5370650 w 5370650"/>
              <a:gd name="connsiteY2" fmla="*/ 5143499 h 5143499"/>
              <a:gd name="connsiteX3" fmla="*/ 2809899 w 5370650"/>
              <a:gd name="connsiteY3" fmla="*/ 5143499 h 5143499"/>
              <a:gd name="connsiteX4" fmla="*/ 0 w 5370650"/>
              <a:gd name="connsiteY4" fmla="*/ 472866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50" h="5143499">
                <a:moveTo>
                  <a:pt x="0" y="0"/>
                </a:moveTo>
                <a:lnTo>
                  <a:pt x="2276270" y="0"/>
                </a:lnTo>
                <a:lnTo>
                  <a:pt x="5370650" y="5143499"/>
                </a:lnTo>
                <a:lnTo>
                  <a:pt x="2809899" y="5143499"/>
                </a:lnTo>
                <a:lnTo>
                  <a:pt x="0" y="47286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5458D77-BF08-4283-8180-8F2844EBBF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7675" y="807105"/>
            <a:ext cx="3921125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406BAD-7984-4431-A361-03606058FE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57675" y="1473200"/>
            <a:ext cx="392112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>
              <a:buNone/>
              <a:defRPr lang="en-US" sz="2000" smtClean="0">
                <a:solidFill>
                  <a:schemeClr val="bg1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marL="0" lvl="0" indent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50812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4B5E135-E84C-483A-AF9B-178AA4FCAD34}"/>
              </a:ext>
            </a:extLst>
          </p:cNvPr>
          <p:cNvSpPr/>
          <p:nvPr userDrawn="1"/>
        </p:nvSpPr>
        <p:spPr>
          <a:xfrm flipH="1">
            <a:off x="0" y="-1"/>
            <a:ext cx="9144000" cy="5143500"/>
          </a:xfrm>
          <a:custGeom>
            <a:avLst/>
            <a:gdLst>
              <a:gd name="connsiteX0" fmla="*/ 9144000 w 9144000"/>
              <a:gd name="connsiteY0" fmla="*/ 3173995 h 5143500"/>
              <a:gd name="connsiteX1" fmla="*/ 7455344 w 9144000"/>
              <a:gd name="connsiteY1" fmla="*/ 3173995 h 5143500"/>
              <a:gd name="connsiteX2" fmla="*/ 6278880 w 9144000"/>
              <a:gd name="connsiteY2" fmla="*/ 5143500 h 5143500"/>
              <a:gd name="connsiteX3" fmla="*/ 9144000 w 9144000"/>
              <a:gd name="connsiteY3" fmla="*/ 5143500 h 5143500"/>
              <a:gd name="connsiteX4" fmla="*/ 6858000 w 9144000"/>
              <a:gd name="connsiteY4" fmla="*/ 0 h 5143500"/>
              <a:gd name="connsiteX5" fmla="*/ 0 w 9144000"/>
              <a:gd name="connsiteY5" fmla="*/ 0 h 5143500"/>
              <a:gd name="connsiteX6" fmla="*/ 0 w 9144000"/>
              <a:gd name="connsiteY6" fmla="*/ 4714240 h 5143500"/>
              <a:gd name="connsiteX7" fmla="*/ 4041996 w 9144000"/>
              <a:gd name="connsiteY7" fmla="*/ 471424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9144000" y="3173995"/>
                </a:moveTo>
                <a:lnTo>
                  <a:pt x="7455344" y="3173995"/>
                </a:lnTo>
                <a:lnTo>
                  <a:pt x="6278880" y="5143500"/>
                </a:lnTo>
                <a:lnTo>
                  <a:pt x="9144000" y="5143500"/>
                </a:lnTo>
                <a:close/>
                <a:moveTo>
                  <a:pt x="6858000" y="0"/>
                </a:moveTo>
                <a:lnTo>
                  <a:pt x="0" y="0"/>
                </a:lnTo>
                <a:lnTo>
                  <a:pt x="0" y="4714240"/>
                </a:lnTo>
                <a:lnTo>
                  <a:pt x="4041996" y="4714240"/>
                </a:lnTo>
                <a:close/>
              </a:path>
            </a:pathLst>
          </a:custGeom>
          <a:blipFill>
            <a:blip r:embed="rId2"/>
            <a:srcRect/>
            <a:stretch>
              <a:fillRect t="-9289" b="-928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IN" dirty="0"/>
              <a:t> 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8AB85424-3C73-4CC6-9ADC-EF709189C095}"/>
              </a:ext>
            </a:extLst>
          </p:cNvPr>
          <p:cNvSpPr/>
          <p:nvPr userDrawn="1"/>
        </p:nvSpPr>
        <p:spPr>
          <a:xfrm flipV="1">
            <a:off x="0" y="0"/>
            <a:ext cx="9144000" cy="5143500"/>
          </a:xfrm>
          <a:custGeom>
            <a:avLst/>
            <a:gdLst>
              <a:gd name="connsiteX0" fmla="*/ 0 w 9144000"/>
              <a:gd name="connsiteY0" fmla="*/ 1969505 h 5143500"/>
              <a:gd name="connsiteX1" fmla="*/ 1688656 w 9144000"/>
              <a:gd name="connsiteY1" fmla="*/ 1969505 h 5143500"/>
              <a:gd name="connsiteX2" fmla="*/ 2865120 w 9144000"/>
              <a:gd name="connsiteY2" fmla="*/ 0 h 5143500"/>
              <a:gd name="connsiteX3" fmla="*/ 0 w 9144000"/>
              <a:gd name="connsiteY3" fmla="*/ 0 h 5143500"/>
              <a:gd name="connsiteX4" fmla="*/ 2286000 w 9144000"/>
              <a:gd name="connsiteY4" fmla="*/ 5143500 h 5143500"/>
              <a:gd name="connsiteX5" fmla="*/ 9144000 w 9144000"/>
              <a:gd name="connsiteY5" fmla="*/ 5143500 h 5143500"/>
              <a:gd name="connsiteX6" fmla="*/ 9144000 w 9144000"/>
              <a:gd name="connsiteY6" fmla="*/ 429260 h 5143500"/>
              <a:gd name="connsiteX7" fmla="*/ 5102004 w 9144000"/>
              <a:gd name="connsiteY7" fmla="*/ 42926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1969505"/>
                </a:moveTo>
                <a:lnTo>
                  <a:pt x="1688656" y="1969505"/>
                </a:lnTo>
                <a:lnTo>
                  <a:pt x="2865120" y="0"/>
                </a:lnTo>
                <a:lnTo>
                  <a:pt x="0" y="0"/>
                </a:lnTo>
                <a:close/>
                <a:moveTo>
                  <a:pt x="2286000" y="5143500"/>
                </a:moveTo>
                <a:lnTo>
                  <a:pt x="9144000" y="5143500"/>
                </a:lnTo>
                <a:lnTo>
                  <a:pt x="9144000" y="429260"/>
                </a:lnTo>
                <a:lnTo>
                  <a:pt x="5102004" y="42926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49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5458D77-BF08-4283-8180-8F2844EBBF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4315" y="807105"/>
            <a:ext cx="2346325" cy="7755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accent3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406BAD-7984-4431-A361-03606058FE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4315" y="1803122"/>
            <a:ext cx="2346325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85750" indent="-285750">
              <a:buFont typeface="Arial" panose="020B0604020202020204" pitchFamily="34" charset="0"/>
              <a:buNone/>
              <a:defRPr lang="en-US" sz="1600" smtClean="0">
                <a:solidFill>
                  <a:schemeClr val="tx1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marL="0" lvl="0" indent="0"/>
            <a:r>
              <a:rPr lang="en-US" dirty="0"/>
              <a:t>Click to edit Master text styles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BEAF10A5-6D3E-4FB1-947D-CFB33139516D}"/>
              </a:ext>
            </a:extLst>
          </p:cNvPr>
          <p:cNvSpPr/>
          <p:nvPr userDrawn="1"/>
        </p:nvSpPr>
        <p:spPr>
          <a:xfrm>
            <a:off x="4916805" y="462987"/>
            <a:ext cx="3775782" cy="4051140"/>
          </a:xfrm>
          <a:custGeom>
            <a:avLst/>
            <a:gdLst>
              <a:gd name="connsiteX0" fmla="*/ 8565265 w 8565265"/>
              <a:gd name="connsiteY0" fmla="*/ 0 h 4051140"/>
              <a:gd name="connsiteX1" fmla="*/ 8565265 w 8565265"/>
              <a:gd name="connsiteY1" fmla="*/ 4051140 h 4051140"/>
              <a:gd name="connsiteX2" fmla="*/ 0 w 8565265"/>
              <a:gd name="connsiteY2" fmla="*/ 4051140 h 4051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65265" h="4051140">
                <a:moveTo>
                  <a:pt x="8565265" y="0"/>
                </a:moveTo>
                <a:lnTo>
                  <a:pt x="8565265" y="4051140"/>
                </a:lnTo>
                <a:lnTo>
                  <a:pt x="0" y="405114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391778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8413953" cy="419100"/>
          </a:xfrm>
          <a:prstGeom prst="rect">
            <a:avLst/>
          </a:prstGeom>
        </p:spPr>
        <p:txBody>
          <a:bodyPr lIns="0"/>
          <a:lstStyle>
            <a:lvl1pPr marL="0" indent="0">
              <a:buFont typeface="Arial" panose="020B0604020202020204" pitchFamily="34" charset="0"/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1450" lvl="0" indent="-17145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4" name="Parallelogram 3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6DC79C2-BEC8-4551-B2F2-250AFCB928C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651819"/>
            <a:ext cx="3978275" cy="292811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sz="16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59504670-5740-45BB-8D7E-BB672610A5E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75175" y="1651819"/>
            <a:ext cx="3978275" cy="292811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sz="1600"/>
            </a:lvl1pPr>
            <a:lvl2pPr marL="468313" indent="-285750"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D380500F-0434-42A5-89E2-849FBADFC07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575175" y="1323177"/>
            <a:ext cx="3978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  <a:endParaRPr lang="en-IN" dirty="0"/>
          </a:p>
        </p:txBody>
      </p:sp>
      <p:sp>
        <p:nvSpPr>
          <p:cNvPr id="15" name="Freeform 28">
            <a:extLst>
              <a:ext uri="{FF2B5EF4-FFF2-40B4-BE49-F238E27FC236}">
                <a16:creationId xmlns:a16="http://schemas.microsoft.com/office/drawing/2014/main" id="{7CBD4874-7949-48E4-8769-9C745FBE1B48}"/>
              </a:ext>
            </a:extLst>
          </p:cNvPr>
          <p:cNvSpPr>
            <a:spLocks/>
          </p:cNvSpPr>
          <p:nvPr userDrawn="1"/>
        </p:nvSpPr>
        <p:spPr bwMode="auto">
          <a:xfrm rot="18316537" flipH="1">
            <a:off x="459857" y="1003509"/>
            <a:ext cx="396987" cy="437775"/>
          </a:xfrm>
          <a:custGeom>
            <a:avLst/>
            <a:gdLst>
              <a:gd name="connsiteX0" fmla="*/ 911113 w 1188009"/>
              <a:gd name="connsiteY0" fmla="*/ 0 h 1310071"/>
              <a:gd name="connsiteX1" fmla="*/ 1188009 w 1188009"/>
              <a:gd name="connsiteY1" fmla="*/ 0 h 1310071"/>
              <a:gd name="connsiteX2" fmla="*/ 281736 w 1188009"/>
              <a:gd name="connsiteY2" fmla="*/ 1310071 h 1310071"/>
              <a:gd name="connsiteX3" fmla="*/ 0 w 1188009"/>
              <a:gd name="connsiteY3" fmla="*/ 1310071 h 1310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8009" h="1310071">
                <a:moveTo>
                  <a:pt x="911113" y="0"/>
                </a:moveTo>
                <a:lnTo>
                  <a:pt x="1188009" y="0"/>
                </a:lnTo>
                <a:lnTo>
                  <a:pt x="281736" y="1310071"/>
                </a:lnTo>
                <a:lnTo>
                  <a:pt x="0" y="131007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6" name="Freeform 28">
            <a:extLst>
              <a:ext uri="{FF2B5EF4-FFF2-40B4-BE49-F238E27FC236}">
                <a16:creationId xmlns:a16="http://schemas.microsoft.com/office/drawing/2014/main" id="{D6690E6F-B383-49F7-9A32-C566C43507A1}"/>
              </a:ext>
            </a:extLst>
          </p:cNvPr>
          <p:cNvSpPr>
            <a:spLocks/>
          </p:cNvSpPr>
          <p:nvPr userDrawn="1"/>
        </p:nvSpPr>
        <p:spPr bwMode="auto">
          <a:xfrm rot="18316537" flipH="1">
            <a:off x="4663660" y="1003509"/>
            <a:ext cx="396987" cy="437775"/>
          </a:xfrm>
          <a:custGeom>
            <a:avLst/>
            <a:gdLst>
              <a:gd name="connsiteX0" fmla="*/ 911113 w 1188009"/>
              <a:gd name="connsiteY0" fmla="*/ 0 h 1310071"/>
              <a:gd name="connsiteX1" fmla="*/ 1188009 w 1188009"/>
              <a:gd name="connsiteY1" fmla="*/ 0 h 1310071"/>
              <a:gd name="connsiteX2" fmla="*/ 281736 w 1188009"/>
              <a:gd name="connsiteY2" fmla="*/ 1310071 h 1310071"/>
              <a:gd name="connsiteX3" fmla="*/ 0 w 1188009"/>
              <a:gd name="connsiteY3" fmla="*/ 1310071 h 1310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8009" h="1310071">
                <a:moveTo>
                  <a:pt x="911113" y="0"/>
                </a:moveTo>
                <a:lnTo>
                  <a:pt x="1188009" y="0"/>
                </a:lnTo>
                <a:lnTo>
                  <a:pt x="281736" y="1310071"/>
                </a:lnTo>
                <a:lnTo>
                  <a:pt x="0" y="131007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1362D7D2-0BA2-4E11-84B6-64410A194BE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65125" y="1323177"/>
            <a:ext cx="3978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51037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A4A3A4"/>
          </p15:clr>
        </p15:guide>
        <p15:guide id="2" pos="5544">
          <p15:clr>
            <a:srgbClr val="A4A3A4"/>
          </p15:clr>
        </p15:guide>
        <p15:guide id="3" orient="horz" pos="2964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8413953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651819"/>
            <a:ext cx="2610485" cy="292811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F6306D9E-105B-4100-BE6D-740A2563AD8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66757" y="1651819"/>
            <a:ext cx="2610485" cy="292811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sz="1400"/>
            </a:lvl1pPr>
            <a:lvl2pPr marL="468313" indent="-285750"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89F083E-5FA8-4DFA-8F33-08CF9762B6A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66757" y="1323177"/>
            <a:ext cx="261048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  <a:endParaRPr lang="en-IN" dirty="0"/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B4F43A77-1F86-41EC-8DA6-E1088D223B6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68389" y="1651819"/>
            <a:ext cx="2610485" cy="292811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sz="1400"/>
            </a:lvl1pPr>
            <a:lvl2pPr marL="468313" indent="-285750"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DF8F1F61-E297-41C7-914F-0F0867A1B5B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68389" y="1323177"/>
            <a:ext cx="261048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  <a:endParaRPr lang="en-IN" dirty="0"/>
          </a:p>
        </p:txBody>
      </p:sp>
      <p:sp>
        <p:nvSpPr>
          <p:cNvPr id="24" name="Content Placeholder 5">
            <a:extLst>
              <a:ext uri="{FF2B5EF4-FFF2-40B4-BE49-F238E27FC236}">
                <a16:creationId xmlns:a16="http://schemas.microsoft.com/office/drawing/2014/main" id="{C78D66F4-AC1B-4FCA-984D-706E290CD43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65125" y="1323177"/>
            <a:ext cx="261048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4401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8413953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651819"/>
            <a:ext cx="1863165" cy="292811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F6306D9E-105B-4100-BE6D-740A2563AD8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48687" y="1651819"/>
            <a:ext cx="1863165" cy="292811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sz="1400"/>
            </a:lvl1pPr>
            <a:lvl2pPr marL="468313" indent="-285750"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89F083E-5FA8-4DFA-8F33-08CF9762B6A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48687" y="1323177"/>
            <a:ext cx="186316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  <a:endParaRPr lang="en-IN" dirty="0"/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B4F43A77-1F86-41EC-8DA6-E1088D223B6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32249" y="1651819"/>
            <a:ext cx="1863165" cy="292811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sz="1400"/>
            </a:lvl1pPr>
            <a:lvl2pPr marL="468313" indent="-285750"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DF8F1F61-E297-41C7-914F-0F0867A1B5B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732249" y="1323177"/>
            <a:ext cx="186316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  <a:endParaRPr lang="en-IN" dirty="0"/>
          </a:p>
        </p:txBody>
      </p:sp>
      <p:sp>
        <p:nvSpPr>
          <p:cNvPr id="21" name="Freeform 28">
            <a:extLst>
              <a:ext uri="{FF2B5EF4-FFF2-40B4-BE49-F238E27FC236}">
                <a16:creationId xmlns:a16="http://schemas.microsoft.com/office/drawing/2014/main" id="{74F77AA7-76F3-4AD7-86BE-1F228C7105F3}"/>
              </a:ext>
            </a:extLst>
          </p:cNvPr>
          <p:cNvSpPr>
            <a:spLocks/>
          </p:cNvSpPr>
          <p:nvPr userDrawn="1"/>
        </p:nvSpPr>
        <p:spPr bwMode="auto">
          <a:xfrm rot="18316537" flipH="1">
            <a:off x="459857" y="1003509"/>
            <a:ext cx="396987" cy="437775"/>
          </a:xfrm>
          <a:custGeom>
            <a:avLst/>
            <a:gdLst>
              <a:gd name="connsiteX0" fmla="*/ 911113 w 1188009"/>
              <a:gd name="connsiteY0" fmla="*/ 0 h 1310071"/>
              <a:gd name="connsiteX1" fmla="*/ 1188009 w 1188009"/>
              <a:gd name="connsiteY1" fmla="*/ 0 h 1310071"/>
              <a:gd name="connsiteX2" fmla="*/ 281736 w 1188009"/>
              <a:gd name="connsiteY2" fmla="*/ 1310071 h 1310071"/>
              <a:gd name="connsiteX3" fmla="*/ 0 w 1188009"/>
              <a:gd name="connsiteY3" fmla="*/ 1310071 h 1310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8009" h="1310071">
                <a:moveTo>
                  <a:pt x="911113" y="0"/>
                </a:moveTo>
                <a:lnTo>
                  <a:pt x="1188009" y="0"/>
                </a:lnTo>
                <a:lnTo>
                  <a:pt x="281736" y="1310071"/>
                </a:lnTo>
                <a:lnTo>
                  <a:pt x="0" y="131007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2" name="Freeform 28">
            <a:extLst>
              <a:ext uri="{FF2B5EF4-FFF2-40B4-BE49-F238E27FC236}">
                <a16:creationId xmlns:a16="http://schemas.microsoft.com/office/drawing/2014/main" id="{19446154-7F21-48C0-8ACB-FDACBD89A524}"/>
              </a:ext>
            </a:extLst>
          </p:cNvPr>
          <p:cNvSpPr>
            <a:spLocks/>
          </p:cNvSpPr>
          <p:nvPr userDrawn="1"/>
        </p:nvSpPr>
        <p:spPr bwMode="auto">
          <a:xfrm rot="18316537" flipH="1">
            <a:off x="2643522" y="1003510"/>
            <a:ext cx="396987" cy="437775"/>
          </a:xfrm>
          <a:custGeom>
            <a:avLst/>
            <a:gdLst>
              <a:gd name="connsiteX0" fmla="*/ 911113 w 1188009"/>
              <a:gd name="connsiteY0" fmla="*/ 0 h 1310071"/>
              <a:gd name="connsiteX1" fmla="*/ 1188009 w 1188009"/>
              <a:gd name="connsiteY1" fmla="*/ 0 h 1310071"/>
              <a:gd name="connsiteX2" fmla="*/ 281736 w 1188009"/>
              <a:gd name="connsiteY2" fmla="*/ 1310071 h 1310071"/>
              <a:gd name="connsiteX3" fmla="*/ 0 w 1188009"/>
              <a:gd name="connsiteY3" fmla="*/ 1310071 h 1310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8009" h="1310071">
                <a:moveTo>
                  <a:pt x="911113" y="0"/>
                </a:moveTo>
                <a:lnTo>
                  <a:pt x="1188009" y="0"/>
                </a:lnTo>
                <a:lnTo>
                  <a:pt x="281736" y="1310071"/>
                </a:lnTo>
                <a:lnTo>
                  <a:pt x="0" y="131007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3" name="Freeform 28">
            <a:extLst>
              <a:ext uri="{FF2B5EF4-FFF2-40B4-BE49-F238E27FC236}">
                <a16:creationId xmlns:a16="http://schemas.microsoft.com/office/drawing/2014/main" id="{BA7DA84D-0219-40D2-A839-2545B04E72CA}"/>
              </a:ext>
            </a:extLst>
          </p:cNvPr>
          <p:cNvSpPr>
            <a:spLocks/>
          </p:cNvSpPr>
          <p:nvPr userDrawn="1"/>
        </p:nvSpPr>
        <p:spPr bwMode="auto">
          <a:xfrm rot="18316537" flipH="1">
            <a:off x="7010647" y="1003510"/>
            <a:ext cx="396987" cy="437775"/>
          </a:xfrm>
          <a:custGeom>
            <a:avLst/>
            <a:gdLst>
              <a:gd name="connsiteX0" fmla="*/ 911113 w 1188009"/>
              <a:gd name="connsiteY0" fmla="*/ 0 h 1310071"/>
              <a:gd name="connsiteX1" fmla="*/ 1188009 w 1188009"/>
              <a:gd name="connsiteY1" fmla="*/ 0 h 1310071"/>
              <a:gd name="connsiteX2" fmla="*/ 281736 w 1188009"/>
              <a:gd name="connsiteY2" fmla="*/ 1310071 h 1310071"/>
              <a:gd name="connsiteX3" fmla="*/ 0 w 1188009"/>
              <a:gd name="connsiteY3" fmla="*/ 1310071 h 1310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8009" h="1310071">
                <a:moveTo>
                  <a:pt x="911113" y="0"/>
                </a:moveTo>
                <a:lnTo>
                  <a:pt x="1188009" y="0"/>
                </a:lnTo>
                <a:lnTo>
                  <a:pt x="281736" y="1310071"/>
                </a:lnTo>
                <a:lnTo>
                  <a:pt x="0" y="131007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D3F766E7-41DC-4752-9B1A-03D19988C0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915812" y="1651819"/>
            <a:ext cx="1863165" cy="292811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sz="1400"/>
            </a:lvl1pPr>
            <a:lvl2pPr marL="468313" indent="-285750"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F9A873DD-BEEB-4068-BA59-25518CCD914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915812" y="1323177"/>
            <a:ext cx="186316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  <a:endParaRPr lang="en-IN" dirty="0"/>
          </a:p>
        </p:txBody>
      </p:sp>
      <p:sp>
        <p:nvSpPr>
          <p:cNvPr id="18" name="Freeform 28">
            <a:extLst>
              <a:ext uri="{FF2B5EF4-FFF2-40B4-BE49-F238E27FC236}">
                <a16:creationId xmlns:a16="http://schemas.microsoft.com/office/drawing/2014/main" id="{2F5314D8-E693-47FB-B407-BDE05AFC2373}"/>
              </a:ext>
            </a:extLst>
          </p:cNvPr>
          <p:cNvSpPr>
            <a:spLocks/>
          </p:cNvSpPr>
          <p:nvPr userDrawn="1"/>
        </p:nvSpPr>
        <p:spPr bwMode="auto">
          <a:xfrm rot="18316537" flipH="1">
            <a:off x="4827084" y="1003510"/>
            <a:ext cx="396987" cy="437775"/>
          </a:xfrm>
          <a:custGeom>
            <a:avLst/>
            <a:gdLst>
              <a:gd name="connsiteX0" fmla="*/ 911113 w 1188009"/>
              <a:gd name="connsiteY0" fmla="*/ 0 h 1310071"/>
              <a:gd name="connsiteX1" fmla="*/ 1188009 w 1188009"/>
              <a:gd name="connsiteY1" fmla="*/ 0 h 1310071"/>
              <a:gd name="connsiteX2" fmla="*/ 281736 w 1188009"/>
              <a:gd name="connsiteY2" fmla="*/ 1310071 h 1310071"/>
              <a:gd name="connsiteX3" fmla="*/ 0 w 1188009"/>
              <a:gd name="connsiteY3" fmla="*/ 1310071 h 1310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8009" h="1310071">
                <a:moveTo>
                  <a:pt x="911113" y="0"/>
                </a:moveTo>
                <a:lnTo>
                  <a:pt x="1188009" y="0"/>
                </a:lnTo>
                <a:lnTo>
                  <a:pt x="281736" y="1310071"/>
                </a:lnTo>
                <a:lnTo>
                  <a:pt x="0" y="131007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4" name="Content Placeholder 5">
            <a:extLst>
              <a:ext uri="{FF2B5EF4-FFF2-40B4-BE49-F238E27FC236}">
                <a16:creationId xmlns:a16="http://schemas.microsoft.com/office/drawing/2014/main" id="{83F31EA4-D357-42D3-AFBB-6C104FE1BA2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5125" y="1323177"/>
            <a:ext cx="186316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32020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arallelogram 24">
            <a:extLst>
              <a:ext uri="{FF2B5EF4-FFF2-40B4-BE49-F238E27FC236}">
                <a16:creationId xmlns:a16="http://schemas.microsoft.com/office/drawing/2014/main" id="{B25477BB-C92C-40F9-8AA6-B8D978FBF12F}"/>
              </a:ext>
            </a:extLst>
          </p:cNvPr>
          <p:cNvSpPr/>
          <p:nvPr userDrawn="1"/>
        </p:nvSpPr>
        <p:spPr>
          <a:xfrm flipH="1">
            <a:off x="5140960" y="1979607"/>
            <a:ext cx="2286000" cy="2519362"/>
          </a:xfrm>
          <a:prstGeom prst="parallelogram">
            <a:avLst>
              <a:gd name="adj" fmla="val 45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Parallelogram 25">
            <a:extLst>
              <a:ext uri="{FF2B5EF4-FFF2-40B4-BE49-F238E27FC236}">
                <a16:creationId xmlns:a16="http://schemas.microsoft.com/office/drawing/2014/main" id="{F1405898-4D5F-412E-A8AE-860CB693DDEA}"/>
              </a:ext>
            </a:extLst>
          </p:cNvPr>
          <p:cNvSpPr/>
          <p:nvPr userDrawn="1"/>
        </p:nvSpPr>
        <p:spPr>
          <a:xfrm flipH="1">
            <a:off x="5140960" y="1557580"/>
            <a:ext cx="3007360" cy="2981194"/>
          </a:xfrm>
          <a:prstGeom prst="parallelogram">
            <a:avLst>
              <a:gd name="adj" fmla="val 3954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4206976" cy="4191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lang="en-US" sz="21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171450" lvl="0" indent="-17145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249680"/>
            <a:ext cx="4206875" cy="35342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EEAFC49-9203-42D8-8A90-6EEC5ECE24D4}"/>
              </a:ext>
            </a:extLst>
          </p:cNvPr>
          <p:cNvSpPr/>
          <p:nvPr userDrawn="1"/>
        </p:nvSpPr>
        <p:spPr>
          <a:xfrm>
            <a:off x="5008879" y="462115"/>
            <a:ext cx="4135121" cy="4219270"/>
          </a:xfrm>
          <a:custGeom>
            <a:avLst/>
            <a:gdLst>
              <a:gd name="connsiteX0" fmla="*/ 0 w 4135121"/>
              <a:gd name="connsiteY0" fmla="*/ 0 h 4219270"/>
              <a:gd name="connsiteX1" fmla="*/ 4135121 w 4135121"/>
              <a:gd name="connsiteY1" fmla="*/ 0 h 4219270"/>
              <a:gd name="connsiteX2" fmla="*/ 4135121 w 4135121"/>
              <a:gd name="connsiteY2" fmla="*/ 4219270 h 4219270"/>
              <a:gd name="connsiteX3" fmla="*/ 1603449 w 4135121"/>
              <a:gd name="connsiteY3" fmla="*/ 4219270 h 4219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35121" h="4219270">
                <a:moveTo>
                  <a:pt x="0" y="0"/>
                </a:moveTo>
                <a:lnTo>
                  <a:pt x="4135121" y="0"/>
                </a:lnTo>
                <a:lnTo>
                  <a:pt x="4135121" y="4219270"/>
                </a:lnTo>
                <a:lnTo>
                  <a:pt x="1603449" y="4219270"/>
                </a:lnTo>
                <a:close/>
              </a:path>
            </a:pathLst>
          </a:custGeom>
          <a:blipFill>
            <a:blip r:embed="rId3"/>
            <a:srcRect/>
            <a:stretch>
              <a:fillRect l="-56518" r="-236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8352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arallelogram 24">
            <a:extLst>
              <a:ext uri="{FF2B5EF4-FFF2-40B4-BE49-F238E27FC236}">
                <a16:creationId xmlns:a16="http://schemas.microsoft.com/office/drawing/2014/main" id="{B25477BB-C92C-40F9-8AA6-B8D978FBF12F}"/>
              </a:ext>
            </a:extLst>
          </p:cNvPr>
          <p:cNvSpPr/>
          <p:nvPr userDrawn="1"/>
        </p:nvSpPr>
        <p:spPr>
          <a:xfrm flipH="1">
            <a:off x="5140960" y="1979607"/>
            <a:ext cx="2286000" cy="2519362"/>
          </a:xfrm>
          <a:prstGeom prst="parallelogram">
            <a:avLst>
              <a:gd name="adj" fmla="val 45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Parallelogram 25">
            <a:extLst>
              <a:ext uri="{FF2B5EF4-FFF2-40B4-BE49-F238E27FC236}">
                <a16:creationId xmlns:a16="http://schemas.microsoft.com/office/drawing/2014/main" id="{F1405898-4D5F-412E-A8AE-860CB693DDEA}"/>
              </a:ext>
            </a:extLst>
          </p:cNvPr>
          <p:cNvSpPr/>
          <p:nvPr userDrawn="1"/>
        </p:nvSpPr>
        <p:spPr>
          <a:xfrm flipH="1">
            <a:off x="5140960" y="1557580"/>
            <a:ext cx="3007360" cy="2981194"/>
          </a:xfrm>
          <a:prstGeom prst="parallelogram">
            <a:avLst>
              <a:gd name="adj" fmla="val 3954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4206976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249680"/>
            <a:ext cx="4206875" cy="35342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EEAFC49-9203-42D8-8A90-6EEC5ECE24D4}"/>
              </a:ext>
            </a:extLst>
          </p:cNvPr>
          <p:cNvSpPr/>
          <p:nvPr userDrawn="1"/>
        </p:nvSpPr>
        <p:spPr>
          <a:xfrm>
            <a:off x="5008879" y="462115"/>
            <a:ext cx="4135121" cy="4219270"/>
          </a:xfrm>
          <a:custGeom>
            <a:avLst/>
            <a:gdLst>
              <a:gd name="connsiteX0" fmla="*/ 0 w 4135121"/>
              <a:gd name="connsiteY0" fmla="*/ 0 h 4219270"/>
              <a:gd name="connsiteX1" fmla="*/ 4135121 w 4135121"/>
              <a:gd name="connsiteY1" fmla="*/ 0 h 4219270"/>
              <a:gd name="connsiteX2" fmla="*/ 4135121 w 4135121"/>
              <a:gd name="connsiteY2" fmla="*/ 4219270 h 4219270"/>
              <a:gd name="connsiteX3" fmla="*/ 1603449 w 4135121"/>
              <a:gd name="connsiteY3" fmla="*/ 4219270 h 4219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35121" h="4219270">
                <a:moveTo>
                  <a:pt x="0" y="0"/>
                </a:moveTo>
                <a:lnTo>
                  <a:pt x="4135121" y="0"/>
                </a:lnTo>
                <a:lnTo>
                  <a:pt x="4135121" y="4219270"/>
                </a:lnTo>
                <a:lnTo>
                  <a:pt x="1603449" y="4219270"/>
                </a:lnTo>
                <a:close/>
              </a:path>
            </a:pathLst>
          </a:custGeom>
          <a:blipFill>
            <a:blip r:embed="rId3"/>
            <a:srcRect/>
            <a:stretch>
              <a:fillRect l="-27962" r="-2501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3614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arallelogram 24">
            <a:extLst>
              <a:ext uri="{FF2B5EF4-FFF2-40B4-BE49-F238E27FC236}">
                <a16:creationId xmlns:a16="http://schemas.microsoft.com/office/drawing/2014/main" id="{B25477BB-C92C-40F9-8AA6-B8D978FBF12F}"/>
              </a:ext>
            </a:extLst>
          </p:cNvPr>
          <p:cNvSpPr/>
          <p:nvPr userDrawn="1"/>
        </p:nvSpPr>
        <p:spPr>
          <a:xfrm flipH="1">
            <a:off x="5140960" y="1979607"/>
            <a:ext cx="2286000" cy="2519362"/>
          </a:xfrm>
          <a:prstGeom prst="parallelogram">
            <a:avLst>
              <a:gd name="adj" fmla="val 45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Parallelogram 25">
            <a:extLst>
              <a:ext uri="{FF2B5EF4-FFF2-40B4-BE49-F238E27FC236}">
                <a16:creationId xmlns:a16="http://schemas.microsoft.com/office/drawing/2014/main" id="{F1405898-4D5F-412E-A8AE-860CB693DDEA}"/>
              </a:ext>
            </a:extLst>
          </p:cNvPr>
          <p:cNvSpPr/>
          <p:nvPr userDrawn="1"/>
        </p:nvSpPr>
        <p:spPr>
          <a:xfrm flipH="1">
            <a:off x="5140960" y="1557580"/>
            <a:ext cx="3007360" cy="2981194"/>
          </a:xfrm>
          <a:prstGeom prst="parallelogram">
            <a:avLst>
              <a:gd name="adj" fmla="val 3954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4206976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249680"/>
            <a:ext cx="4206875" cy="35342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EEAFC49-9203-42D8-8A90-6EEC5ECE24D4}"/>
              </a:ext>
            </a:extLst>
          </p:cNvPr>
          <p:cNvSpPr/>
          <p:nvPr userDrawn="1"/>
        </p:nvSpPr>
        <p:spPr>
          <a:xfrm>
            <a:off x="5008879" y="462115"/>
            <a:ext cx="4135121" cy="4219270"/>
          </a:xfrm>
          <a:custGeom>
            <a:avLst/>
            <a:gdLst>
              <a:gd name="connsiteX0" fmla="*/ 0 w 4135121"/>
              <a:gd name="connsiteY0" fmla="*/ 0 h 4219270"/>
              <a:gd name="connsiteX1" fmla="*/ 4135121 w 4135121"/>
              <a:gd name="connsiteY1" fmla="*/ 0 h 4219270"/>
              <a:gd name="connsiteX2" fmla="*/ 4135121 w 4135121"/>
              <a:gd name="connsiteY2" fmla="*/ 4219270 h 4219270"/>
              <a:gd name="connsiteX3" fmla="*/ 1603449 w 4135121"/>
              <a:gd name="connsiteY3" fmla="*/ 4219270 h 4219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35121" h="4219270">
                <a:moveTo>
                  <a:pt x="0" y="0"/>
                </a:moveTo>
                <a:lnTo>
                  <a:pt x="4135121" y="0"/>
                </a:lnTo>
                <a:lnTo>
                  <a:pt x="4135121" y="4219270"/>
                </a:lnTo>
                <a:lnTo>
                  <a:pt x="1603449" y="4219270"/>
                </a:lnTo>
                <a:close/>
              </a:path>
            </a:pathLst>
          </a:custGeom>
          <a:blipFill>
            <a:blip r:embed="rId3"/>
            <a:srcRect/>
            <a:stretch>
              <a:fillRect l="-26488" r="-2648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13474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arallelogram 24">
            <a:extLst>
              <a:ext uri="{FF2B5EF4-FFF2-40B4-BE49-F238E27FC236}">
                <a16:creationId xmlns:a16="http://schemas.microsoft.com/office/drawing/2014/main" id="{B25477BB-C92C-40F9-8AA6-B8D978FBF12F}"/>
              </a:ext>
            </a:extLst>
          </p:cNvPr>
          <p:cNvSpPr/>
          <p:nvPr userDrawn="1"/>
        </p:nvSpPr>
        <p:spPr>
          <a:xfrm flipH="1">
            <a:off x="5140960" y="1979607"/>
            <a:ext cx="2286000" cy="2519362"/>
          </a:xfrm>
          <a:prstGeom prst="parallelogram">
            <a:avLst>
              <a:gd name="adj" fmla="val 45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Parallelogram 25">
            <a:extLst>
              <a:ext uri="{FF2B5EF4-FFF2-40B4-BE49-F238E27FC236}">
                <a16:creationId xmlns:a16="http://schemas.microsoft.com/office/drawing/2014/main" id="{F1405898-4D5F-412E-A8AE-860CB693DDEA}"/>
              </a:ext>
            </a:extLst>
          </p:cNvPr>
          <p:cNvSpPr/>
          <p:nvPr userDrawn="1"/>
        </p:nvSpPr>
        <p:spPr>
          <a:xfrm flipH="1">
            <a:off x="5140960" y="1557580"/>
            <a:ext cx="3007360" cy="2981194"/>
          </a:xfrm>
          <a:prstGeom prst="parallelogram">
            <a:avLst>
              <a:gd name="adj" fmla="val 3954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4206976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249680"/>
            <a:ext cx="4206875" cy="35342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EEAFC49-9203-42D8-8A90-6EEC5ECE24D4}"/>
              </a:ext>
            </a:extLst>
          </p:cNvPr>
          <p:cNvSpPr/>
          <p:nvPr userDrawn="1"/>
        </p:nvSpPr>
        <p:spPr>
          <a:xfrm>
            <a:off x="5008879" y="462115"/>
            <a:ext cx="4135121" cy="4219270"/>
          </a:xfrm>
          <a:custGeom>
            <a:avLst/>
            <a:gdLst>
              <a:gd name="connsiteX0" fmla="*/ 0 w 4135121"/>
              <a:gd name="connsiteY0" fmla="*/ 0 h 4219270"/>
              <a:gd name="connsiteX1" fmla="*/ 4135121 w 4135121"/>
              <a:gd name="connsiteY1" fmla="*/ 0 h 4219270"/>
              <a:gd name="connsiteX2" fmla="*/ 4135121 w 4135121"/>
              <a:gd name="connsiteY2" fmla="*/ 4219270 h 4219270"/>
              <a:gd name="connsiteX3" fmla="*/ 1603449 w 4135121"/>
              <a:gd name="connsiteY3" fmla="*/ 4219270 h 4219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35121" h="4219270">
                <a:moveTo>
                  <a:pt x="0" y="0"/>
                </a:moveTo>
                <a:lnTo>
                  <a:pt x="4135121" y="0"/>
                </a:lnTo>
                <a:lnTo>
                  <a:pt x="4135121" y="4219270"/>
                </a:lnTo>
                <a:lnTo>
                  <a:pt x="1603449" y="4219270"/>
                </a:lnTo>
                <a:close/>
              </a:path>
            </a:pathLst>
          </a:custGeom>
          <a:blipFill>
            <a:blip r:embed="rId3"/>
            <a:srcRect/>
            <a:stretch>
              <a:fillRect l="-30545" r="-5413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93891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arallelogram 24">
            <a:extLst>
              <a:ext uri="{FF2B5EF4-FFF2-40B4-BE49-F238E27FC236}">
                <a16:creationId xmlns:a16="http://schemas.microsoft.com/office/drawing/2014/main" id="{B25477BB-C92C-40F9-8AA6-B8D978FBF12F}"/>
              </a:ext>
            </a:extLst>
          </p:cNvPr>
          <p:cNvSpPr/>
          <p:nvPr userDrawn="1"/>
        </p:nvSpPr>
        <p:spPr>
          <a:xfrm flipH="1">
            <a:off x="5140960" y="1979607"/>
            <a:ext cx="2286000" cy="2519362"/>
          </a:xfrm>
          <a:prstGeom prst="parallelogram">
            <a:avLst>
              <a:gd name="adj" fmla="val 45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Parallelogram 25">
            <a:extLst>
              <a:ext uri="{FF2B5EF4-FFF2-40B4-BE49-F238E27FC236}">
                <a16:creationId xmlns:a16="http://schemas.microsoft.com/office/drawing/2014/main" id="{F1405898-4D5F-412E-A8AE-860CB693DDEA}"/>
              </a:ext>
            </a:extLst>
          </p:cNvPr>
          <p:cNvSpPr/>
          <p:nvPr userDrawn="1"/>
        </p:nvSpPr>
        <p:spPr>
          <a:xfrm flipH="1">
            <a:off x="5140960" y="1557580"/>
            <a:ext cx="3007360" cy="2981194"/>
          </a:xfrm>
          <a:prstGeom prst="parallelogram">
            <a:avLst>
              <a:gd name="adj" fmla="val 3954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4206976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249680"/>
            <a:ext cx="4206875" cy="35342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EEAFC49-9203-42D8-8A90-6EEC5ECE24D4}"/>
              </a:ext>
            </a:extLst>
          </p:cNvPr>
          <p:cNvSpPr/>
          <p:nvPr userDrawn="1"/>
        </p:nvSpPr>
        <p:spPr>
          <a:xfrm>
            <a:off x="5008879" y="462115"/>
            <a:ext cx="4135121" cy="4219270"/>
          </a:xfrm>
          <a:custGeom>
            <a:avLst/>
            <a:gdLst>
              <a:gd name="connsiteX0" fmla="*/ 0 w 4135121"/>
              <a:gd name="connsiteY0" fmla="*/ 0 h 4219270"/>
              <a:gd name="connsiteX1" fmla="*/ 4135121 w 4135121"/>
              <a:gd name="connsiteY1" fmla="*/ 0 h 4219270"/>
              <a:gd name="connsiteX2" fmla="*/ 4135121 w 4135121"/>
              <a:gd name="connsiteY2" fmla="*/ 4219270 h 4219270"/>
              <a:gd name="connsiteX3" fmla="*/ 1603449 w 4135121"/>
              <a:gd name="connsiteY3" fmla="*/ 4219270 h 4219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35121" h="4219270">
                <a:moveTo>
                  <a:pt x="0" y="0"/>
                </a:moveTo>
                <a:lnTo>
                  <a:pt x="4135121" y="0"/>
                </a:lnTo>
                <a:lnTo>
                  <a:pt x="4135121" y="4219270"/>
                </a:lnTo>
                <a:lnTo>
                  <a:pt x="1603449" y="4219270"/>
                </a:lnTo>
                <a:close/>
              </a:path>
            </a:pathLst>
          </a:custGeom>
          <a:blipFill>
            <a:blip r:embed="rId3"/>
            <a:srcRect/>
            <a:stretch>
              <a:fillRect l="-32686" r="-3268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26276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3998" cy="5144709"/>
          </a:xfrm>
          <a:prstGeom prst="rect">
            <a:avLst/>
          </a:prstGeom>
        </p:spPr>
      </p:pic>
      <p:sp>
        <p:nvSpPr>
          <p:cNvPr id="26" name="Freeform 25"/>
          <p:cNvSpPr/>
          <p:nvPr userDrawn="1"/>
        </p:nvSpPr>
        <p:spPr>
          <a:xfrm>
            <a:off x="3149601" y="1613206"/>
            <a:ext cx="3806849" cy="3530295"/>
          </a:xfrm>
          <a:custGeom>
            <a:avLst/>
            <a:gdLst>
              <a:gd name="connsiteX0" fmla="*/ 2451578 w 3806849"/>
              <a:gd name="connsiteY0" fmla="*/ 0 h 3530295"/>
              <a:gd name="connsiteX1" fmla="*/ 2667478 w 3806849"/>
              <a:gd name="connsiteY1" fmla="*/ 0 h 3530295"/>
              <a:gd name="connsiteX2" fmla="*/ 215900 w 3806849"/>
              <a:gd name="connsiteY2" fmla="*/ 3530294 h 3530295"/>
              <a:gd name="connsiteX3" fmla="*/ 3806849 w 3806849"/>
              <a:gd name="connsiteY3" fmla="*/ 3530294 h 3530295"/>
              <a:gd name="connsiteX4" fmla="*/ 3806848 w 3806849"/>
              <a:gd name="connsiteY4" fmla="*/ 3530295 h 3530295"/>
              <a:gd name="connsiteX5" fmla="*/ 0 w 3806849"/>
              <a:gd name="connsiteY5" fmla="*/ 3530295 h 353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3530295">
                <a:moveTo>
                  <a:pt x="2451578" y="0"/>
                </a:moveTo>
                <a:lnTo>
                  <a:pt x="2667478" y="0"/>
                </a:lnTo>
                <a:lnTo>
                  <a:pt x="215900" y="3530294"/>
                </a:lnTo>
                <a:lnTo>
                  <a:pt x="3806849" y="3530294"/>
                </a:lnTo>
                <a:lnTo>
                  <a:pt x="3806848" y="3530295"/>
                </a:lnTo>
                <a:lnTo>
                  <a:pt x="0" y="35302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 userDrawn="1"/>
        </p:nvSpPr>
        <p:spPr>
          <a:xfrm>
            <a:off x="2883761" y="2871371"/>
            <a:ext cx="3806849" cy="2272130"/>
          </a:xfrm>
          <a:custGeom>
            <a:avLst/>
            <a:gdLst>
              <a:gd name="connsiteX0" fmla="*/ 1577858 w 3806849"/>
              <a:gd name="connsiteY0" fmla="*/ 0 h 2272130"/>
              <a:gd name="connsiteX1" fmla="*/ 2059598 w 3806849"/>
              <a:gd name="connsiteY1" fmla="*/ 0 h 2272130"/>
              <a:gd name="connsiteX2" fmla="*/ 481740 w 3806849"/>
              <a:gd name="connsiteY2" fmla="*/ 2272129 h 2272130"/>
              <a:gd name="connsiteX3" fmla="*/ 3806849 w 3806849"/>
              <a:gd name="connsiteY3" fmla="*/ 2272129 h 2272130"/>
              <a:gd name="connsiteX4" fmla="*/ 3806848 w 3806849"/>
              <a:gd name="connsiteY4" fmla="*/ 2272130 h 2272130"/>
              <a:gd name="connsiteX5" fmla="*/ 0 w 3806849"/>
              <a:gd name="connsiteY5" fmla="*/ 2272130 h 2272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2272130">
                <a:moveTo>
                  <a:pt x="1577858" y="0"/>
                </a:moveTo>
                <a:lnTo>
                  <a:pt x="2059598" y="0"/>
                </a:lnTo>
                <a:lnTo>
                  <a:pt x="481740" y="2272129"/>
                </a:lnTo>
                <a:lnTo>
                  <a:pt x="3806849" y="2272129"/>
                </a:lnTo>
                <a:lnTo>
                  <a:pt x="3806848" y="2272130"/>
                </a:lnTo>
                <a:lnTo>
                  <a:pt x="0" y="2272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0149" y="1221581"/>
            <a:ext cx="856376" cy="204894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550149" y="1605586"/>
            <a:ext cx="2578101" cy="0"/>
          </a:xfrm>
          <a:prstGeom prst="lin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149" y="1721278"/>
            <a:ext cx="3615451" cy="13849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400" b="1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OLLABERA ENGINEERING SOLUTION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149" y="3264053"/>
            <a:ext cx="3196351" cy="498598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9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quae </a:t>
            </a:r>
            <a:r>
              <a:rPr lang="en-US" dirty="0" err="1"/>
              <a:t>ab</a:t>
            </a:r>
            <a:r>
              <a:rPr lang="en-US" dirty="0"/>
              <a:t>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explicabo</a:t>
            </a:r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67C16B9-D467-4B72-BC56-283BB9433B84}"/>
              </a:ext>
            </a:extLst>
          </p:cNvPr>
          <p:cNvSpPr/>
          <p:nvPr userDrawn="1"/>
        </p:nvSpPr>
        <p:spPr>
          <a:xfrm>
            <a:off x="3550920" y="-1"/>
            <a:ext cx="5593078" cy="5142291"/>
          </a:xfrm>
          <a:custGeom>
            <a:avLst/>
            <a:gdLst>
              <a:gd name="connsiteX0" fmla="*/ 3513470 w 5593078"/>
              <a:gd name="connsiteY0" fmla="*/ 0 h 5142291"/>
              <a:gd name="connsiteX1" fmla="*/ 5593078 w 5593078"/>
              <a:gd name="connsiteY1" fmla="*/ 0 h 5142291"/>
              <a:gd name="connsiteX2" fmla="*/ 5593078 w 5593078"/>
              <a:gd name="connsiteY2" fmla="*/ 1424535 h 5142291"/>
              <a:gd name="connsiteX3" fmla="*/ 3052921 w 5593078"/>
              <a:gd name="connsiteY3" fmla="*/ 5142291 h 5142291"/>
              <a:gd name="connsiteX4" fmla="*/ 0 w 5593078"/>
              <a:gd name="connsiteY4" fmla="*/ 5142291 h 514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3078" h="5142291">
                <a:moveTo>
                  <a:pt x="3513470" y="0"/>
                </a:moveTo>
                <a:lnTo>
                  <a:pt x="5593078" y="0"/>
                </a:lnTo>
                <a:lnTo>
                  <a:pt x="5593078" y="1424535"/>
                </a:lnTo>
                <a:lnTo>
                  <a:pt x="3052921" y="5142291"/>
                </a:lnTo>
                <a:lnTo>
                  <a:pt x="0" y="5142291"/>
                </a:lnTo>
                <a:close/>
              </a:path>
            </a:pathLst>
          </a:custGeom>
          <a:blipFill>
            <a:blip r:embed="rId4"/>
            <a:srcRect/>
            <a:stretch>
              <a:fillRect l="-148049" r="-1780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969450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arallelogram 24">
            <a:extLst>
              <a:ext uri="{FF2B5EF4-FFF2-40B4-BE49-F238E27FC236}">
                <a16:creationId xmlns:a16="http://schemas.microsoft.com/office/drawing/2014/main" id="{B25477BB-C92C-40F9-8AA6-B8D978FBF12F}"/>
              </a:ext>
            </a:extLst>
          </p:cNvPr>
          <p:cNvSpPr/>
          <p:nvPr userDrawn="1"/>
        </p:nvSpPr>
        <p:spPr>
          <a:xfrm flipH="1">
            <a:off x="5140960" y="1979607"/>
            <a:ext cx="2286000" cy="2519362"/>
          </a:xfrm>
          <a:prstGeom prst="parallelogram">
            <a:avLst>
              <a:gd name="adj" fmla="val 45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Parallelogram 25">
            <a:extLst>
              <a:ext uri="{FF2B5EF4-FFF2-40B4-BE49-F238E27FC236}">
                <a16:creationId xmlns:a16="http://schemas.microsoft.com/office/drawing/2014/main" id="{F1405898-4D5F-412E-A8AE-860CB693DDEA}"/>
              </a:ext>
            </a:extLst>
          </p:cNvPr>
          <p:cNvSpPr/>
          <p:nvPr userDrawn="1"/>
        </p:nvSpPr>
        <p:spPr>
          <a:xfrm flipH="1">
            <a:off x="5140960" y="1557580"/>
            <a:ext cx="3007360" cy="2981194"/>
          </a:xfrm>
          <a:prstGeom prst="parallelogram">
            <a:avLst>
              <a:gd name="adj" fmla="val 3954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4206976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249680"/>
            <a:ext cx="4206875" cy="35342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EEAFC49-9203-42D8-8A90-6EEC5ECE24D4}"/>
              </a:ext>
            </a:extLst>
          </p:cNvPr>
          <p:cNvSpPr/>
          <p:nvPr userDrawn="1"/>
        </p:nvSpPr>
        <p:spPr>
          <a:xfrm>
            <a:off x="5008879" y="462115"/>
            <a:ext cx="4135121" cy="4219270"/>
          </a:xfrm>
          <a:custGeom>
            <a:avLst/>
            <a:gdLst>
              <a:gd name="connsiteX0" fmla="*/ 0 w 4135121"/>
              <a:gd name="connsiteY0" fmla="*/ 0 h 4219270"/>
              <a:gd name="connsiteX1" fmla="*/ 4135121 w 4135121"/>
              <a:gd name="connsiteY1" fmla="*/ 0 h 4219270"/>
              <a:gd name="connsiteX2" fmla="*/ 4135121 w 4135121"/>
              <a:gd name="connsiteY2" fmla="*/ 4219270 h 4219270"/>
              <a:gd name="connsiteX3" fmla="*/ 1603449 w 4135121"/>
              <a:gd name="connsiteY3" fmla="*/ 4219270 h 4219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35121" h="4219270">
                <a:moveTo>
                  <a:pt x="0" y="0"/>
                </a:moveTo>
                <a:lnTo>
                  <a:pt x="4135121" y="0"/>
                </a:lnTo>
                <a:lnTo>
                  <a:pt x="4135121" y="4219270"/>
                </a:lnTo>
                <a:lnTo>
                  <a:pt x="1603449" y="4219270"/>
                </a:lnTo>
                <a:close/>
              </a:path>
            </a:pathLst>
          </a:custGeom>
          <a:blipFill>
            <a:blip r:embed="rId3"/>
            <a:srcRect/>
            <a:stretch>
              <a:fillRect l="-567" r="-5240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9990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arallelogram 24">
            <a:extLst>
              <a:ext uri="{FF2B5EF4-FFF2-40B4-BE49-F238E27FC236}">
                <a16:creationId xmlns:a16="http://schemas.microsoft.com/office/drawing/2014/main" id="{B25477BB-C92C-40F9-8AA6-B8D978FBF12F}"/>
              </a:ext>
            </a:extLst>
          </p:cNvPr>
          <p:cNvSpPr/>
          <p:nvPr userDrawn="1"/>
        </p:nvSpPr>
        <p:spPr>
          <a:xfrm flipH="1">
            <a:off x="5140960" y="1979607"/>
            <a:ext cx="2286000" cy="2519362"/>
          </a:xfrm>
          <a:prstGeom prst="parallelogram">
            <a:avLst>
              <a:gd name="adj" fmla="val 45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Parallelogram 25">
            <a:extLst>
              <a:ext uri="{FF2B5EF4-FFF2-40B4-BE49-F238E27FC236}">
                <a16:creationId xmlns:a16="http://schemas.microsoft.com/office/drawing/2014/main" id="{F1405898-4D5F-412E-A8AE-860CB693DDEA}"/>
              </a:ext>
            </a:extLst>
          </p:cNvPr>
          <p:cNvSpPr/>
          <p:nvPr userDrawn="1"/>
        </p:nvSpPr>
        <p:spPr>
          <a:xfrm flipH="1">
            <a:off x="5140960" y="1557580"/>
            <a:ext cx="3007360" cy="2981194"/>
          </a:xfrm>
          <a:prstGeom prst="parallelogram">
            <a:avLst>
              <a:gd name="adj" fmla="val 3954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4206976" cy="419100"/>
          </a:xfrm>
          <a:prstGeom prst="rect">
            <a:avLst/>
          </a:prstGeom>
        </p:spPr>
        <p:txBody>
          <a:bodyPr lIns="0"/>
          <a:lstStyle>
            <a:lvl1pPr marL="0" indent="0">
              <a:buFont typeface="Arial" panose="020B0604020202020204" pitchFamily="34" charset="0"/>
              <a:buNone/>
              <a:defRPr lang="en-US" sz="21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171450" lvl="0" indent="-17145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249680"/>
            <a:ext cx="4206875" cy="35342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2"/>
          </p:nvPr>
        </p:nvSpPr>
        <p:spPr>
          <a:xfrm>
            <a:off x="5008879" y="462115"/>
            <a:ext cx="4135121" cy="4219270"/>
          </a:xfrm>
          <a:custGeom>
            <a:avLst/>
            <a:gdLst>
              <a:gd name="connsiteX0" fmla="*/ 0 w 4135121"/>
              <a:gd name="connsiteY0" fmla="*/ 0 h 4219270"/>
              <a:gd name="connsiteX1" fmla="*/ 4135121 w 4135121"/>
              <a:gd name="connsiteY1" fmla="*/ 0 h 4219270"/>
              <a:gd name="connsiteX2" fmla="*/ 4135121 w 4135121"/>
              <a:gd name="connsiteY2" fmla="*/ 4219270 h 4219270"/>
              <a:gd name="connsiteX3" fmla="*/ 1603449 w 4135121"/>
              <a:gd name="connsiteY3" fmla="*/ 4219270 h 4219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35121" h="4219270">
                <a:moveTo>
                  <a:pt x="0" y="0"/>
                </a:moveTo>
                <a:lnTo>
                  <a:pt x="4135121" y="0"/>
                </a:lnTo>
                <a:lnTo>
                  <a:pt x="4135121" y="4219270"/>
                </a:lnTo>
                <a:lnTo>
                  <a:pt x="1603449" y="42192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318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>
          <p15:clr>
            <a:srgbClr val="A4A3A4"/>
          </p15:clr>
        </p15:guide>
        <p15:guide id="2" pos="216">
          <p15:clr>
            <a:srgbClr val="A4A3A4"/>
          </p15:clr>
        </p15:guide>
        <p15:guide id="3" pos="5544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arallelogram 26">
            <a:extLst>
              <a:ext uri="{FF2B5EF4-FFF2-40B4-BE49-F238E27FC236}">
                <a16:creationId xmlns:a16="http://schemas.microsoft.com/office/drawing/2014/main" id="{25D5DCDE-6E95-4A79-B046-4367D8126CE8}"/>
              </a:ext>
            </a:extLst>
          </p:cNvPr>
          <p:cNvSpPr/>
          <p:nvPr userDrawn="1"/>
        </p:nvSpPr>
        <p:spPr>
          <a:xfrm>
            <a:off x="1527173" y="1413993"/>
            <a:ext cx="981395" cy="1032612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8" name="Parallelogram 27">
            <a:extLst>
              <a:ext uri="{FF2B5EF4-FFF2-40B4-BE49-F238E27FC236}">
                <a16:creationId xmlns:a16="http://schemas.microsoft.com/office/drawing/2014/main" id="{5BB36086-1BA5-4A50-AE61-68EA2FAC85DF}"/>
              </a:ext>
            </a:extLst>
          </p:cNvPr>
          <p:cNvSpPr/>
          <p:nvPr userDrawn="1"/>
        </p:nvSpPr>
        <p:spPr>
          <a:xfrm>
            <a:off x="4463413" y="1413993"/>
            <a:ext cx="981395" cy="1032612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Parallelogram 28">
            <a:extLst>
              <a:ext uri="{FF2B5EF4-FFF2-40B4-BE49-F238E27FC236}">
                <a16:creationId xmlns:a16="http://schemas.microsoft.com/office/drawing/2014/main" id="{CF68B877-FFEC-4FE0-B7DE-9C67C9996B28}"/>
              </a:ext>
            </a:extLst>
          </p:cNvPr>
          <p:cNvSpPr/>
          <p:nvPr userDrawn="1"/>
        </p:nvSpPr>
        <p:spPr>
          <a:xfrm>
            <a:off x="7338693" y="1413993"/>
            <a:ext cx="981395" cy="1032612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9EA13B14-87F2-4A09-BB55-966D7970124A}"/>
              </a:ext>
            </a:extLst>
          </p:cNvPr>
          <p:cNvSpPr/>
          <p:nvPr userDrawn="1"/>
        </p:nvSpPr>
        <p:spPr>
          <a:xfrm>
            <a:off x="999805" y="1089982"/>
            <a:ext cx="1408273" cy="1481768"/>
          </a:xfrm>
          <a:prstGeom prst="parallelogram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0270F2D6-CB65-481E-B586-7CB2423BF137}"/>
              </a:ext>
            </a:extLst>
          </p:cNvPr>
          <p:cNvSpPr/>
          <p:nvPr userDrawn="1"/>
        </p:nvSpPr>
        <p:spPr>
          <a:xfrm>
            <a:off x="3936045" y="1089982"/>
            <a:ext cx="1408273" cy="1481768"/>
          </a:xfrm>
          <a:prstGeom prst="parallelogram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A2F44452-8E9A-4273-862C-325028FA9FE1}"/>
              </a:ext>
            </a:extLst>
          </p:cNvPr>
          <p:cNvSpPr/>
          <p:nvPr userDrawn="1"/>
        </p:nvSpPr>
        <p:spPr>
          <a:xfrm>
            <a:off x="6811325" y="1089982"/>
            <a:ext cx="1408273" cy="1481768"/>
          </a:xfrm>
          <a:prstGeom prst="parallelogram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8443696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3096299"/>
            <a:ext cx="2703195" cy="126856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567BE1CC-3459-4711-B337-327C3AFD72A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75965" y="3096299"/>
            <a:ext cx="2703195" cy="126856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29DF2329-E8B8-4617-994E-F093CDFB2CE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186805" y="3096299"/>
            <a:ext cx="2703195" cy="126856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F1B2386B-9386-4F60-891D-F3287F75364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5125" y="2714308"/>
            <a:ext cx="2703195" cy="23522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373D882E-93FC-46E9-8428-E0E9928C56F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5965" y="2714308"/>
            <a:ext cx="2703195" cy="23522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0346DD0-6BCB-426A-94C2-DBFCA093BCF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86805" y="2714308"/>
            <a:ext cx="2703195" cy="23522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A1DB21-D35F-4FDB-B7FC-E06FD1AC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25366" y="1147763"/>
            <a:ext cx="1382712" cy="138271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endParaRPr lang="en-IN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B9ACFF1-0141-40B7-9FC2-0980141562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936206" y="1147763"/>
            <a:ext cx="1382712" cy="138271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endParaRPr lang="en-IN" dirty="0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82BEFDD7-E7F0-4293-8372-409E0DC0D5B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847046" y="1147763"/>
            <a:ext cx="1382712" cy="138271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41575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arallelogram 62">
            <a:extLst>
              <a:ext uri="{FF2B5EF4-FFF2-40B4-BE49-F238E27FC236}">
                <a16:creationId xmlns:a16="http://schemas.microsoft.com/office/drawing/2014/main" id="{D64B8F65-D52E-460D-A2B1-3B06F3088A90}"/>
              </a:ext>
            </a:extLst>
          </p:cNvPr>
          <p:cNvSpPr/>
          <p:nvPr userDrawn="1"/>
        </p:nvSpPr>
        <p:spPr>
          <a:xfrm>
            <a:off x="5559498" y="1413993"/>
            <a:ext cx="981395" cy="1032612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Parallelogram 26">
            <a:extLst>
              <a:ext uri="{FF2B5EF4-FFF2-40B4-BE49-F238E27FC236}">
                <a16:creationId xmlns:a16="http://schemas.microsoft.com/office/drawing/2014/main" id="{25D5DCDE-6E95-4A79-B046-4367D8126CE8}"/>
              </a:ext>
            </a:extLst>
          </p:cNvPr>
          <p:cNvSpPr/>
          <p:nvPr userDrawn="1"/>
        </p:nvSpPr>
        <p:spPr>
          <a:xfrm>
            <a:off x="1049653" y="1413993"/>
            <a:ext cx="981395" cy="1032612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9EA13B14-87F2-4A09-BB55-966D7970124A}"/>
              </a:ext>
            </a:extLst>
          </p:cNvPr>
          <p:cNvSpPr/>
          <p:nvPr userDrawn="1"/>
        </p:nvSpPr>
        <p:spPr>
          <a:xfrm>
            <a:off x="522285" y="1089982"/>
            <a:ext cx="1408273" cy="1481768"/>
          </a:xfrm>
          <a:prstGeom prst="parallelogram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8443696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3096299"/>
            <a:ext cx="1737995" cy="126856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F1B2386B-9386-4F60-891D-F3287F75364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5125" y="2714308"/>
            <a:ext cx="1737995" cy="23522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A1DB21-D35F-4FDB-B7FC-E06FD1AC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7846" y="1147763"/>
            <a:ext cx="1382712" cy="138271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endParaRPr lang="en-IN" dirty="0"/>
          </a:p>
        </p:txBody>
      </p:sp>
      <p:sp>
        <p:nvSpPr>
          <p:cNvPr id="43" name="Parallelogram 42">
            <a:extLst>
              <a:ext uri="{FF2B5EF4-FFF2-40B4-BE49-F238E27FC236}">
                <a16:creationId xmlns:a16="http://schemas.microsoft.com/office/drawing/2014/main" id="{8B23AEBB-AF51-4322-816C-F8BC36F8FE71}"/>
              </a:ext>
            </a:extLst>
          </p:cNvPr>
          <p:cNvSpPr/>
          <p:nvPr userDrawn="1"/>
        </p:nvSpPr>
        <p:spPr>
          <a:xfrm>
            <a:off x="3350152" y="1413993"/>
            <a:ext cx="981395" cy="1032612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4" name="Parallelogram 43">
            <a:extLst>
              <a:ext uri="{FF2B5EF4-FFF2-40B4-BE49-F238E27FC236}">
                <a16:creationId xmlns:a16="http://schemas.microsoft.com/office/drawing/2014/main" id="{31FBC199-0810-4B3A-A303-7EEA832C59E7}"/>
              </a:ext>
            </a:extLst>
          </p:cNvPr>
          <p:cNvSpPr/>
          <p:nvPr userDrawn="1"/>
        </p:nvSpPr>
        <p:spPr>
          <a:xfrm>
            <a:off x="2822784" y="1089982"/>
            <a:ext cx="1408273" cy="1481768"/>
          </a:xfrm>
          <a:prstGeom prst="parallelogram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742A1D15-7246-4967-AB38-828A943334F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93552" y="3096299"/>
            <a:ext cx="1737995" cy="126856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6" name="Content Placeholder 5">
            <a:extLst>
              <a:ext uri="{FF2B5EF4-FFF2-40B4-BE49-F238E27FC236}">
                <a16:creationId xmlns:a16="http://schemas.microsoft.com/office/drawing/2014/main" id="{2C6F5DD7-EC47-49BE-B25C-46110753572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593552" y="2714308"/>
            <a:ext cx="1737995" cy="23522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3A227001-0162-4BF6-973B-9B882D5135F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48345" y="1147763"/>
            <a:ext cx="1382712" cy="138271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endParaRPr lang="en-IN" dirty="0"/>
          </a:p>
        </p:txBody>
      </p:sp>
      <p:sp>
        <p:nvSpPr>
          <p:cNvPr id="54" name="Parallelogram 53">
            <a:extLst>
              <a:ext uri="{FF2B5EF4-FFF2-40B4-BE49-F238E27FC236}">
                <a16:creationId xmlns:a16="http://schemas.microsoft.com/office/drawing/2014/main" id="{E02DBCD8-F967-437D-9D9F-B7FEE9DA0E46}"/>
              </a:ext>
            </a:extLst>
          </p:cNvPr>
          <p:cNvSpPr/>
          <p:nvPr userDrawn="1"/>
        </p:nvSpPr>
        <p:spPr>
          <a:xfrm>
            <a:off x="5032130" y="1089982"/>
            <a:ext cx="1408273" cy="1481768"/>
          </a:xfrm>
          <a:prstGeom prst="parallelogram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5" name="Content Placeholder 5">
            <a:extLst>
              <a:ext uri="{FF2B5EF4-FFF2-40B4-BE49-F238E27FC236}">
                <a16:creationId xmlns:a16="http://schemas.microsoft.com/office/drawing/2014/main" id="{02E198B7-1805-4371-9EAE-F5D9CB4E59F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821979" y="3096299"/>
            <a:ext cx="1737995" cy="126856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6" name="Content Placeholder 5">
            <a:extLst>
              <a:ext uri="{FF2B5EF4-FFF2-40B4-BE49-F238E27FC236}">
                <a16:creationId xmlns:a16="http://schemas.microsoft.com/office/drawing/2014/main" id="{525C94D7-170F-4951-B674-D5F137B05094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821979" y="2714308"/>
            <a:ext cx="1737995" cy="23522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7" name="Picture Placeholder 2">
            <a:extLst>
              <a:ext uri="{FF2B5EF4-FFF2-40B4-BE49-F238E27FC236}">
                <a16:creationId xmlns:a16="http://schemas.microsoft.com/office/drawing/2014/main" id="{0A9938F6-5813-4D96-8904-599CA3B4C96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57691" y="1147763"/>
            <a:ext cx="1382712" cy="138271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endParaRPr lang="en-IN" dirty="0"/>
          </a:p>
        </p:txBody>
      </p:sp>
      <p:sp>
        <p:nvSpPr>
          <p:cNvPr id="58" name="Parallelogram 57">
            <a:extLst>
              <a:ext uri="{FF2B5EF4-FFF2-40B4-BE49-F238E27FC236}">
                <a16:creationId xmlns:a16="http://schemas.microsoft.com/office/drawing/2014/main" id="{7E7FA0BB-3893-4003-AD7A-D71E4C925CF2}"/>
              </a:ext>
            </a:extLst>
          </p:cNvPr>
          <p:cNvSpPr/>
          <p:nvPr userDrawn="1"/>
        </p:nvSpPr>
        <p:spPr>
          <a:xfrm>
            <a:off x="7734933" y="1413993"/>
            <a:ext cx="981395" cy="1032612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9" name="Parallelogram 58">
            <a:extLst>
              <a:ext uri="{FF2B5EF4-FFF2-40B4-BE49-F238E27FC236}">
                <a16:creationId xmlns:a16="http://schemas.microsoft.com/office/drawing/2014/main" id="{2E19AC8B-B073-4216-956F-317E5C09E26E}"/>
              </a:ext>
            </a:extLst>
          </p:cNvPr>
          <p:cNvSpPr/>
          <p:nvPr userDrawn="1"/>
        </p:nvSpPr>
        <p:spPr>
          <a:xfrm>
            <a:off x="7207565" y="1089982"/>
            <a:ext cx="1408273" cy="1481768"/>
          </a:xfrm>
          <a:prstGeom prst="parallelogram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0" name="Content Placeholder 5">
            <a:extLst>
              <a:ext uri="{FF2B5EF4-FFF2-40B4-BE49-F238E27FC236}">
                <a16:creationId xmlns:a16="http://schemas.microsoft.com/office/drawing/2014/main" id="{AD46CCC8-F8E6-4097-962B-2702E58E3068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7050405" y="3096299"/>
            <a:ext cx="1737995" cy="126856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1" name="Content Placeholder 5">
            <a:extLst>
              <a:ext uri="{FF2B5EF4-FFF2-40B4-BE49-F238E27FC236}">
                <a16:creationId xmlns:a16="http://schemas.microsoft.com/office/drawing/2014/main" id="{38E4ED8A-17CB-406D-BE53-95F00B2A9618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7050405" y="2714308"/>
            <a:ext cx="1737995" cy="23522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Clr>
                <a:schemeClr val="accent3"/>
              </a:buClr>
              <a:buFontTx/>
              <a:buNone/>
              <a:defRPr sz="1600" b="1">
                <a:solidFill>
                  <a:schemeClr val="accent3"/>
                </a:solidFill>
              </a:defRPr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7C23D4C4-C411-4B9A-BC9A-F44488EAADD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233126" y="1147763"/>
            <a:ext cx="1382712" cy="138271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7185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8443696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920299" y="1204834"/>
            <a:ext cx="2468880" cy="126856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A1DB21-D35F-4FDB-B7FC-E06FD1ACEF2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65025" y="1147763"/>
            <a:ext cx="1382712" cy="138271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3"/>
            </a:solidFill>
          </a:ln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endParaRPr lang="en-IN" dirty="0"/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3A227001-0162-4BF6-973B-9B882D5135F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999719" y="3069161"/>
            <a:ext cx="1382712" cy="138271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3"/>
            </a:solidFill>
          </a:ln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endParaRPr lang="en-IN" dirty="0"/>
          </a:p>
        </p:txBody>
      </p:sp>
      <p:sp>
        <p:nvSpPr>
          <p:cNvPr id="57" name="Picture Placeholder 2">
            <a:extLst>
              <a:ext uri="{FF2B5EF4-FFF2-40B4-BE49-F238E27FC236}">
                <a16:creationId xmlns:a16="http://schemas.microsoft.com/office/drawing/2014/main" id="{0A9938F6-5813-4D96-8904-599CA3B4C96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54823" y="1147763"/>
            <a:ext cx="1382712" cy="138271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3"/>
            </a:solidFill>
          </a:ln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endParaRPr lang="en-IN" dirty="0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7C23D4C4-C411-4B9A-BC9A-F44488EAADD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426009" y="3069161"/>
            <a:ext cx="1382712" cy="138271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3"/>
            </a:solidFill>
          </a:ln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endParaRPr lang="en-IN" dirty="0"/>
          </a:p>
        </p:txBody>
      </p:sp>
      <p:sp>
        <p:nvSpPr>
          <p:cNvPr id="25" name="Content Placeholder 5">
            <a:extLst>
              <a:ext uri="{FF2B5EF4-FFF2-40B4-BE49-F238E27FC236}">
                <a16:creationId xmlns:a16="http://schemas.microsoft.com/office/drawing/2014/main" id="{8C4A674D-732D-40AC-B424-AF3196913807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6339841" y="1204834"/>
            <a:ext cx="2468880" cy="126856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3BA1BF9C-88F5-449A-9CDD-61FF8EACAADB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65025" y="3137806"/>
            <a:ext cx="2468880" cy="126856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F6EDAF0D-936B-4CEE-B93C-4D55D4A6AA4F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4791314" y="3137806"/>
            <a:ext cx="2468880" cy="126856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171594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5614135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176059"/>
            <a:ext cx="5161915" cy="33959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CD49C4-E261-49EC-9754-8FC2538E37D3}"/>
              </a:ext>
            </a:extLst>
          </p:cNvPr>
          <p:cNvGrpSpPr/>
          <p:nvPr userDrawn="1"/>
        </p:nvGrpSpPr>
        <p:grpSpPr>
          <a:xfrm>
            <a:off x="5781039" y="614625"/>
            <a:ext cx="3362960" cy="3957397"/>
            <a:chOff x="5425440" y="614625"/>
            <a:chExt cx="3718560" cy="3957397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02DE78F-6ED6-4526-A584-03464B713EA3}"/>
                </a:ext>
              </a:extLst>
            </p:cNvPr>
            <p:cNvSpPr/>
            <p:nvPr userDrawn="1"/>
          </p:nvSpPr>
          <p:spPr>
            <a:xfrm>
              <a:off x="5425440" y="2277879"/>
              <a:ext cx="2032000" cy="2294143"/>
            </a:xfrm>
            <a:custGeom>
              <a:avLst/>
              <a:gdLst>
                <a:gd name="connsiteX0" fmla="*/ 1304318 w 3942398"/>
                <a:gd name="connsiteY0" fmla="*/ 0 h 3957397"/>
                <a:gd name="connsiteX1" fmla="*/ 3942398 w 3942398"/>
                <a:gd name="connsiteY1" fmla="*/ 0 h 3957397"/>
                <a:gd name="connsiteX2" fmla="*/ 3942398 w 3942398"/>
                <a:gd name="connsiteY2" fmla="*/ 3957397 h 3957397"/>
                <a:gd name="connsiteX3" fmla="*/ 0 w 3942398"/>
                <a:gd name="connsiteY3" fmla="*/ 3957397 h 395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2398" h="3957397">
                  <a:moveTo>
                    <a:pt x="1304318" y="0"/>
                  </a:moveTo>
                  <a:lnTo>
                    <a:pt x="3942398" y="0"/>
                  </a:lnTo>
                  <a:lnTo>
                    <a:pt x="3942398" y="3957397"/>
                  </a:lnTo>
                  <a:lnTo>
                    <a:pt x="0" y="395739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EB3FC07-072F-40CB-A4DB-981CE2413DBE}"/>
                </a:ext>
              </a:extLst>
            </p:cNvPr>
            <p:cNvSpPr/>
            <p:nvPr userDrawn="1"/>
          </p:nvSpPr>
          <p:spPr>
            <a:xfrm>
              <a:off x="5638800" y="614625"/>
              <a:ext cx="3505200" cy="3957397"/>
            </a:xfrm>
            <a:custGeom>
              <a:avLst/>
              <a:gdLst>
                <a:gd name="connsiteX0" fmla="*/ 1304318 w 3942398"/>
                <a:gd name="connsiteY0" fmla="*/ 0 h 3957397"/>
                <a:gd name="connsiteX1" fmla="*/ 3942398 w 3942398"/>
                <a:gd name="connsiteY1" fmla="*/ 0 h 3957397"/>
                <a:gd name="connsiteX2" fmla="*/ 3942398 w 3942398"/>
                <a:gd name="connsiteY2" fmla="*/ 3957397 h 3957397"/>
                <a:gd name="connsiteX3" fmla="*/ 0 w 3942398"/>
                <a:gd name="connsiteY3" fmla="*/ 3957397 h 395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2398" h="3957397">
                  <a:moveTo>
                    <a:pt x="1304318" y="0"/>
                  </a:moveTo>
                  <a:lnTo>
                    <a:pt x="3942398" y="0"/>
                  </a:lnTo>
                  <a:lnTo>
                    <a:pt x="3942398" y="3957397"/>
                  </a:lnTo>
                  <a:lnTo>
                    <a:pt x="0" y="395739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</p:grp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BBFD7FE-11EF-4DC3-B09B-C8DD2151F5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1680" y="915704"/>
            <a:ext cx="1798320" cy="34369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N" sz="1400" dirty="0">
                <a:solidFill>
                  <a:schemeClr val="bg1"/>
                </a:solidFill>
              </a:defRPr>
            </a:lvl1pPr>
          </a:lstStyle>
          <a:p>
            <a:pPr lvl="0">
              <a:buClr>
                <a:schemeClr val="accent3"/>
              </a:buClr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5618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ne-thi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401793"/>
            <a:ext cx="4135855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125" y="1176059"/>
            <a:ext cx="3698875" cy="33959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CD49C4-E261-49EC-9754-8FC2538E37D3}"/>
              </a:ext>
            </a:extLst>
          </p:cNvPr>
          <p:cNvGrpSpPr/>
          <p:nvPr userDrawn="1"/>
        </p:nvGrpSpPr>
        <p:grpSpPr>
          <a:xfrm>
            <a:off x="4572000" y="614625"/>
            <a:ext cx="4571999" cy="3957397"/>
            <a:chOff x="5425440" y="614625"/>
            <a:chExt cx="3718560" cy="3957397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02DE78F-6ED6-4526-A584-03464B713EA3}"/>
                </a:ext>
              </a:extLst>
            </p:cNvPr>
            <p:cNvSpPr/>
            <p:nvPr userDrawn="1"/>
          </p:nvSpPr>
          <p:spPr>
            <a:xfrm>
              <a:off x="5425440" y="2277879"/>
              <a:ext cx="2032000" cy="2294143"/>
            </a:xfrm>
            <a:custGeom>
              <a:avLst/>
              <a:gdLst>
                <a:gd name="connsiteX0" fmla="*/ 1304318 w 3942398"/>
                <a:gd name="connsiteY0" fmla="*/ 0 h 3957397"/>
                <a:gd name="connsiteX1" fmla="*/ 3942398 w 3942398"/>
                <a:gd name="connsiteY1" fmla="*/ 0 h 3957397"/>
                <a:gd name="connsiteX2" fmla="*/ 3942398 w 3942398"/>
                <a:gd name="connsiteY2" fmla="*/ 3957397 h 3957397"/>
                <a:gd name="connsiteX3" fmla="*/ 0 w 3942398"/>
                <a:gd name="connsiteY3" fmla="*/ 3957397 h 395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2398" h="3957397">
                  <a:moveTo>
                    <a:pt x="1304318" y="0"/>
                  </a:moveTo>
                  <a:lnTo>
                    <a:pt x="3942398" y="0"/>
                  </a:lnTo>
                  <a:lnTo>
                    <a:pt x="3942398" y="3957397"/>
                  </a:lnTo>
                  <a:lnTo>
                    <a:pt x="0" y="395739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EB3FC07-072F-40CB-A4DB-981CE2413DBE}"/>
                </a:ext>
              </a:extLst>
            </p:cNvPr>
            <p:cNvSpPr/>
            <p:nvPr userDrawn="1"/>
          </p:nvSpPr>
          <p:spPr>
            <a:xfrm>
              <a:off x="5638800" y="614625"/>
              <a:ext cx="3505200" cy="3957397"/>
            </a:xfrm>
            <a:custGeom>
              <a:avLst/>
              <a:gdLst>
                <a:gd name="connsiteX0" fmla="*/ 1304318 w 3942398"/>
                <a:gd name="connsiteY0" fmla="*/ 0 h 3957397"/>
                <a:gd name="connsiteX1" fmla="*/ 3942398 w 3942398"/>
                <a:gd name="connsiteY1" fmla="*/ 0 h 3957397"/>
                <a:gd name="connsiteX2" fmla="*/ 3942398 w 3942398"/>
                <a:gd name="connsiteY2" fmla="*/ 3957397 h 3957397"/>
                <a:gd name="connsiteX3" fmla="*/ 0 w 3942398"/>
                <a:gd name="connsiteY3" fmla="*/ 3957397 h 395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2398" h="3957397">
                  <a:moveTo>
                    <a:pt x="1304318" y="0"/>
                  </a:moveTo>
                  <a:lnTo>
                    <a:pt x="3942398" y="0"/>
                  </a:lnTo>
                  <a:lnTo>
                    <a:pt x="3942398" y="3957397"/>
                  </a:lnTo>
                  <a:lnTo>
                    <a:pt x="0" y="395739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</p:grp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BBFD7FE-11EF-4DC3-B09B-C8DD2151F5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89040" y="915704"/>
            <a:ext cx="2600960" cy="34369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IN" sz="1400" dirty="0">
                <a:solidFill>
                  <a:schemeClr val="bg1"/>
                </a:solidFill>
              </a:defRPr>
            </a:lvl1pPr>
          </a:lstStyle>
          <a:p>
            <a:pPr lvl="0">
              <a:buClr>
                <a:schemeClr val="accent3"/>
              </a:buClr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7702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-thi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272773-AE0B-4414-9954-F7231F629274}"/>
              </a:ext>
            </a:extLst>
          </p:cNvPr>
          <p:cNvSpPr/>
          <p:nvPr userDrawn="1"/>
        </p:nvSpPr>
        <p:spPr>
          <a:xfrm>
            <a:off x="1469985" y="0"/>
            <a:ext cx="1215342" cy="30716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C09FAE9-A143-4340-B0B4-7C0B1C497618}"/>
              </a:ext>
            </a:extLst>
          </p:cNvPr>
          <p:cNvSpPr/>
          <p:nvPr userDrawn="1"/>
        </p:nvSpPr>
        <p:spPr>
          <a:xfrm>
            <a:off x="1469985" y="2071868"/>
            <a:ext cx="1215342" cy="30716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60541" y="401793"/>
            <a:ext cx="5161915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60641" y="1176059"/>
            <a:ext cx="5161915" cy="33959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B46A2A7-6477-470B-BFD0-A56617074C3D}"/>
              </a:ext>
            </a:extLst>
          </p:cNvPr>
          <p:cNvSpPr/>
          <p:nvPr userDrawn="1"/>
        </p:nvSpPr>
        <p:spPr>
          <a:xfrm>
            <a:off x="0" y="0"/>
            <a:ext cx="2488557" cy="5143500"/>
          </a:xfrm>
          <a:custGeom>
            <a:avLst/>
            <a:gdLst>
              <a:gd name="connsiteX0" fmla="*/ 0 w 2488557"/>
              <a:gd name="connsiteY0" fmla="*/ 0 h 5143500"/>
              <a:gd name="connsiteX1" fmla="*/ 2488557 w 2488557"/>
              <a:gd name="connsiteY1" fmla="*/ 0 h 5143500"/>
              <a:gd name="connsiteX2" fmla="*/ 2488557 w 2488557"/>
              <a:gd name="connsiteY2" fmla="*/ 4622048 h 5143500"/>
              <a:gd name="connsiteX3" fmla="*/ 1967105 w 2488557"/>
              <a:gd name="connsiteY3" fmla="*/ 5143500 h 5143500"/>
              <a:gd name="connsiteX4" fmla="*/ 0 w 2488557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8557" h="5143500">
                <a:moveTo>
                  <a:pt x="0" y="0"/>
                </a:moveTo>
                <a:lnTo>
                  <a:pt x="2488557" y="0"/>
                </a:lnTo>
                <a:lnTo>
                  <a:pt x="2488557" y="4622048"/>
                </a:lnTo>
                <a:lnTo>
                  <a:pt x="1967105" y="5143500"/>
                </a:lnTo>
                <a:lnTo>
                  <a:pt x="0" y="5143500"/>
                </a:lnTo>
                <a:close/>
              </a:path>
            </a:pathLst>
          </a:custGeom>
          <a:blipFill>
            <a:blip r:embed="rId3"/>
            <a:srcRect/>
            <a:stretch>
              <a:fillRect l="-220235" r="-11719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43975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-thi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272773-AE0B-4414-9954-F7231F629274}"/>
              </a:ext>
            </a:extLst>
          </p:cNvPr>
          <p:cNvSpPr/>
          <p:nvPr userDrawn="1"/>
        </p:nvSpPr>
        <p:spPr>
          <a:xfrm>
            <a:off x="1469985" y="0"/>
            <a:ext cx="1215342" cy="30716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C09FAE9-A143-4340-B0B4-7C0B1C497618}"/>
              </a:ext>
            </a:extLst>
          </p:cNvPr>
          <p:cNvSpPr/>
          <p:nvPr userDrawn="1"/>
        </p:nvSpPr>
        <p:spPr>
          <a:xfrm>
            <a:off x="1469985" y="2071868"/>
            <a:ext cx="1215342" cy="30716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60541" y="401793"/>
            <a:ext cx="5161915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60641" y="1176059"/>
            <a:ext cx="5161915" cy="33959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B46A2A7-6477-470B-BFD0-A56617074C3D}"/>
              </a:ext>
            </a:extLst>
          </p:cNvPr>
          <p:cNvSpPr/>
          <p:nvPr userDrawn="1"/>
        </p:nvSpPr>
        <p:spPr>
          <a:xfrm>
            <a:off x="0" y="0"/>
            <a:ext cx="2488557" cy="5143500"/>
          </a:xfrm>
          <a:custGeom>
            <a:avLst/>
            <a:gdLst>
              <a:gd name="connsiteX0" fmla="*/ 0 w 2488557"/>
              <a:gd name="connsiteY0" fmla="*/ 0 h 5143500"/>
              <a:gd name="connsiteX1" fmla="*/ 2488557 w 2488557"/>
              <a:gd name="connsiteY1" fmla="*/ 0 h 5143500"/>
              <a:gd name="connsiteX2" fmla="*/ 2488557 w 2488557"/>
              <a:gd name="connsiteY2" fmla="*/ 4622048 h 5143500"/>
              <a:gd name="connsiteX3" fmla="*/ 1967105 w 2488557"/>
              <a:gd name="connsiteY3" fmla="*/ 5143500 h 5143500"/>
              <a:gd name="connsiteX4" fmla="*/ 0 w 2488557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8557" h="5143500">
                <a:moveTo>
                  <a:pt x="0" y="0"/>
                </a:moveTo>
                <a:lnTo>
                  <a:pt x="2488557" y="0"/>
                </a:lnTo>
                <a:lnTo>
                  <a:pt x="2488557" y="4622048"/>
                </a:lnTo>
                <a:lnTo>
                  <a:pt x="1967105" y="5143500"/>
                </a:lnTo>
                <a:lnTo>
                  <a:pt x="0" y="5143500"/>
                </a:lnTo>
                <a:close/>
              </a:path>
            </a:pathLst>
          </a:custGeom>
          <a:blipFill>
            <a:blip r:embed="rId3"/>
            <a:srcRect/>
            <a:stretch>
              <a:fillRect l="-117911" r="-9196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4509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-thi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272773-AE0B-4414-9954-F7231F629274}"/>
              </a:ext>
            </a:extLst>
          </p:cNvPr>
          <p:cNvSpPr/>
          <p:nvPr userDrawn="1"/>
        </p:nvSpPr>
        <p:spPr>
          <a:xfrm>
            <a:off x="1469985" y="0"/>
            <a:ext cx="1215342" cy="30716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C09FAE9-A143-4340-B0B4-7C0B1C497618}"/>
              </a:ext>
            </a:extLst>
          </p:cNvPr>
          <p:cNvSpPr/>
          <p:nvPr userDrawn="1"/>
        </p:nvSpPr>
        <p:spPr>
          <a:xfrm>
            <a:off x="1469985" y="2071868"/>
            <a:ext cx="1215342" cy="30716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60541" y="401793"/>
            <a:ext cx="5161915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60641" y="1176059"/>
            <a:ext cx="5161915" cy="33959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B46A2A7-6477-470B-BFD0-A56617074C3D}"/>
              </a:ext>
            </a:extLst>
          </p:cNvPr>
          <p:cNvSpPr/>
          <p:nvPr userDrawn="1"/>
        </p:nvSpPr>
        <p:spPr>
          <a:xfrm>
            <a:off x="0" y="0"/>
            <a:ext cx="2488557" cy="5143500"/>
          </a:xfrm>
          <a:custGeom>
            <a:avLst/>
            <a:gdLst>
              <a:gd name="connsiteX0" fmla="*/ 0 w 2488557"/>
              <a:gd name="connsiteY0" fmla="*/ 0 h 5143500"/>
              <a:gd name="connsiteX1" fmla="*/ 2488557 w 2488557"/>
              <a:gd name="connsiteY1" fmla="*/ 0 h 5143500"/>
              <a:gd name="connsiteX2" fmla="*/ 2488557 w 2488557"/>
              <a:gd name="connsiteY2" fmla="*/ 4622048 h 5143500"/>
              <a:gd name="connsiteX3" fmla="*/ 1967105 w 2488557"/>
              <a:gd name="connsiteY3" fmla="*/ 5143500 h 5143500"/>
              <a:gd name="connsiteX4" fmla="*/ 0 w 2488557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8557" h="5143500">
                <a:moveTo>
                  <a:pt x="0" y="0"/>
                </a:moveTo>
                <a:lnTo>
                  <a:pt x="2488557" y="0"/>
                </a:lnTo>
                <a:lnTo>
                  <a:pt x="2488557" y="4622048"/>
                </a:lnTo>
                <a:lnTo>
                  <a:pt x="1967105" y="5143500"/>
                </a:lnTo>
                <a:lnTo>
                  <a:pt x="0" y="5143500"/>
                </a:lnTo>
                <a:close/>
              </a:path>
            </a:pathLst>
          </a:custGeom>
          <a:blipFill>
            <a:blip r:embed="rId3"/>
            <a:srcRect/>
            <a:stretch>
              <a:fillRect l="-151645" r="-15164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6502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3998" cy="5144709"/>
          </a:xfrm>
          <a:prstGeom prst="rect">
            <a:avLst/>
          </a:prstGeom>
        </p:spPr>
      </p:pic>
      <p:sp>
        <p:nvSpPr>
          <p:cNvPr id="26" name="Freeform 25"/>
          <p:cNvSpPr/>
          <p:nvPr userDrawn="1"/>
        </p:nvSpPr>
        <p:spPr>
          <a:xfrm>
            <a:off x="3149601" y="1613206"/>
            <a:ext cx="3806849" cy="3530295"/>
          </a:xfrm>
          <a:custGeom>
            <a:avLst/>
            <a:gdLst>
              <a:gd name="connsiteX0" fmla="*/ 2451578 w 3806849"/>
              <a:gd name="connsiteY0" fmla="*/ 0 h 3530295"/>
              <a:gd name="connsiteX1" fmla="*/ 2667478 w 3806849"/>
              <a:gd name="connsiteY1" fmla="*/ 0 h 3530295"/>
              <a:gd name="connsiteX2" fmla="*/ 215900 w 3806849"/>
              <a:gd name="connsiteY2" fmla="*/ 3530294 h 3530295"/>
              <a:gd name="connsiteX3" fmla="*/ 3806849 w 3806849"/>
              <a:gd name="connsiteY3" fmla="*/ 3530294 h 3530295"/>
              <a:gd name="connsiteX4" fmla="*/ 3806848 w 3806849"/>
              <a:gd name="connsiteY4" fmla="*/ 3530295 h 3530295"/>
              <a:gd name="connsiteX5" fmla="*/ 0 w 3806849"/>
              <a:gd name="connsiteY5" fmla="*/ 3530295 h 353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3530295">
                <a:moveTo>
                  <a:pt x="2451578" y="0"/>
                </a:moveTo>
                <a:lnTo>
                  <a:pt x="2667478" y="0"/>
                </a:lnTo>
                <a:lnTo>
                  <a:pt x="215900" y="3530294"/>
                </a:lnTo>
                <a:lnTo>
                  <a:pt x="3806849" y="3530294"/>
                </a:lnTo>
                <a:lnTo>
                  <a:pt x="3806848" y="3530295"/>
                </a:lnTo>
                <a:lnTo>
                  <a:pt x="0" y="35302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 userDrawn="1"/>
        </p:nvSpPr>
        <p:spPr>
          <a:xfrm>
            <a:off x="2883761" y="2871371"/>
            <a:ext cx="3806849" cy="2272130"/>
          </a:xfrm>
          <a:custGeom>
            <a:avLst/>
            <a:gdLst>
              <a:gd name="connsiteX0" fmla="*/ 1577858 w 3806849"/>
              <a:gd name="connsiteY0" fmla="*/ 0 h 2272130"/>
              <a:gd name="connsiteX1" fmla="*/ 2059598 w 3806849"/>
              <a:gd name="connsiteY1" fmla="*/ 0 h 2272130"/>
              <a:gd name="connsiteX2" fmla="*/ 481740 w 3806849"/>
              <a:gd name="connsiteY2" fmla="*/ 2272129 h 2272130"/>
              <a:gd name="connsiteX3" fmla="*/ 3806849 w 3806849"/>
              <a:gd name="connsiteY3" fmla="*/ 2272129 h 2272130"/>
              <a:gd name="connsiteX4" fmla="*/ 3806848 w 3806849"/>
              <a:gd name="connsiteY4" fmla="*/ 2272130 h 2272130"/>
              <a:gd name="connsiteX5" fmla="*/ 0 w 3806849"/>
              <a:gd name="connsiteY5" fmla="*/ 2272130 h 2272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2272130">
                <a:moveTo>
                  <a:pt x="1577858" y="0"/>
                </a:moveTo>
                <a:lnTo>
                  <a:pt x="2059598" y="0"/>
                </a:lnTo>
                <a:lnTo>
                  <a:pt x="481740" y="2272129"/>
                </a:lnTo>
                <a:lnTo>
                  <a:pt x="3806849" y="2272129"/>
                </a:lnTo>
                <a:lnTo>
                  <a:pt x="3806848" y="2272130"/>
                </a:lnTo>
                <a:lnTo>
                  <a:pt x="0" y="2272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0149" y="1221581"/>
            <a:ext cx="856376" cy="204894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550149" y="1605586"/>
            <a:ext cx="2578101" cy="0"/>
          </a:xfrm>
          <a:prstGeom prst="lin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149" y="1721278"/>
            <a:ext cx="3615451" cy="13849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400" b="1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OLLABERA ENGINEERING SOLUTION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149" y="3264053"/>
            <a:ext cx="3196351" cy="498598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9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quae </a:t>
            </a:r>
            <a:r>
              <a:rPr lang="en-US" dirty="0" err="1"/>
              <a:t>ab</a:t>
            </a:r>
            <a:r>
              <a:rPr lang="en-US" dirty="0"/>
              <a:t>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explicabo</a:t>
            </a:r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67C16B9-D467-4B72-BC56-283BB9433B84}"/>
              </a:ext>
            </a:extLst>
          </p:cNvPr>
          <p:cNvSpPr/>
          <p:nvPr userDrawn="1"/>
        </p:nvSpPr>
        <p:spPr>
          <a:xfrm>
            <a:off x="3550920" y="-1"/>
            <a:ext cx="5593078" cy="5142291"/>
          </a:xfrm>
          <a:custGeom>
            <a:avLst/>
            <a:gdLst>
              <a:gd name="connsiteX0" fmla="*/ 3513470 w 5593078"/>
              <a:gd name="connsiteY0" fmla="*/ 0 h 5142291"/>
              <a:gd name="connsiteX1" fmla="*/ 5593078 w 5593078"/>
              <a:gd name="connsiteY1" fmla="*/ 0 h 5142291"/>
              <a:gd name="connsiteX2" fmla="*/ 5593078 w 5593078"/>
              <a:gd name="connsiteY2" fmla="*/ 1424535 h 5142291"/>
              <a:gd name="connsiteX3" fmla="*/ 3052921 w 5593078"/>
              <a:gd name="connsiteY3" fmla="*/ 5142291 h 5142291"/>
              <a:gd name="connsiteX4" fmla="*/ 0 w 5593078"/>
              <a:gd name="connsiteY4" fmla="*/ 5142291 h 514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3078" h="5142291">
                <a:moveTo>
                  <a:pt x="3513470" y="0"/>
                </a:moveTo>
                <a:lnTo>
                  <a:pt x="5593078" y="0"/>
                </a:lnTo>
                <a:lnTo>
                  <a:pt x="5593078" y="1424535"/>
                </a:lnTo>
                <a:lnTo>
                  <a:pt x="3052921" y="5142291"/>
                </a:lnTo>
                <a:lnTo>
                  <a:pt x="0" y="5142291"/>
                </a:lnTo>
                <a:close/>
              </a:path>
            </a:pathLst>
          </a:custGeom>
          <a:blipFill>
            <a:blip r:embed="rId4"/>
            <a:srcRect/>
            <a:stretch>
              <a:fillRect l="613" r="-4172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451969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ne-thi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272773-AE0B-4414-9954-F7231F629274}"/>
              </a:ext>
            </a:extLst>
          </p:cNvPr>
          <p:cNvSpPr/>
          <p:nvPr userDrawn="1"/>
        </p:nvSpPr>
        <p:spPr>
          <a:xfrm>
            <a:off x="1469985" y="0"/>
            <a:ext cx="1215342" cy="30716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C09FAE9-A143-4340-B0B4-7C0B1C497618}"/>
              </a:ext>
            </a:extLst>
          </p:cNvPr>
          <p:cNvSpPr/>
          <p:nvPr userDrawn="1"/>
        </p:nvSpPr>
        <p:spPr>
          <a:xfrm>
            <a:off x="1469985" y="2071868"/>
            <a:ext cx="1215342" cy="30716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60541" y="401793"/>
            <a:ext cx="5161915" cy="419100"/>
          </a:xfrm>
          <a:prstGeom prst="rect">
            <a:avLst/>
          </a:prstGeom>
        </p:spPr>
        <p:txBody>
          <a:bodyPr lIns="0"/>
          <a:lstStyle>
            <a:lvl1pPr marL="171450" indent="-171450">
              <a:buNone/>
              <a:defRPr lang="en-US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55DBBD9-128E-4F2F-877F-236C9567721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60641" y="1176059"/>
            <a:ext cx="5161915" cy="33959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Clr>
                <a:schemeClr val="accent3"/>
              </a:buClr>
              <a:buFontTx/>
              <a:buNone/>
              <a:defRPr sz="1400"/>
            </a:lvl1pPr>
            <a:lvl2pPr marL="354013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1600"/>
            </a:lvl2pPr>
            <a:lvl3pPr marL="68580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2488557" cy="5143500"/>
          </a:xfrm>
          <a:custGeom>
            <a:avLst/>
            <a:gdLst>
              <a:gd name="connsiteX0" fmla="*/ 0 w 2488557"/>
              <a:gd name="connsiteY0" fmla="*/ 0 h 5143500"/>
              <a:gd name="connsiteX1" fmla="*/ 2488557 w 2488557"/>
              <a:gd name="connsiteY1" fmla="*/ 0 h 5143500"/>
              <a:gd name="connsiteX2" fmla="*/ 2488557 w 2488557"/>
              <a:gd name="connsiteY2" fmla="*/ 4622048 h 5143500"/>
              <a:gd name="connsiteX3" fmla="*/ 1967105 w 2488557"/>
              <a:gd name="connsiteY3" fmla="*/ 5143500 h 5143500"/>
              <a:gd name="connsiteX4" fmla="*/ 0 w 2488557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8557" h="5143500">
                <a:moveTo>
                  <a:pt x="0" y="0"/>
                </a:moveTo>
                <a:lnTo>
                  <a:pt x="2488557" y="0"/>
                </a:lnTo>
                <a:lnTo>
                  <a:pt x="2488557" y="4622048"/>
                </a:lnTo>
                <a:lnTo>
                  <a:pt x="1967105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423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>
          <p15:clr>
            <a:srgbClr val="A4A3A4"/>
          </p15:clr>
        </p15:guide>
        <p15:guide id="2" pos="216">
          <p15:clr>
            <a:srgbClr val="A4A3A4"/>
          </p15:clr>
        </p15:guide>
        <p15:guide id="3" pos="5544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arallelogram 17">
            <a:extLst>
              <a:ext uri="{FF2B5EF4-FFF2-40B4-BE49-F238E27FC236}">
                <a16:creationId xmlns:a16="http://schemas.microsoft.com/office/drawing/2014/main" id="{0D10466C-2684-49D4-8955-7E692DF531A9}"/>
              </a:ext>
            </a:extLst>
          </p:cNvPr>
          <p:cNvSpPr/>
          <p:nvPr userDrawn="1"/>
        </p:nvSpPr>
        <p:spPr>
          <a:xfrm>
            <a:off x="6250464" y="477838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ED0E071D-4DBA-4765-AEAA-1886FC05E2CD}"/>
              </a:ext>
            </a:extLst>
          </p:cNvPr>
          <p:cNvSpPr/>
          <p:nvPr userDrawn="1"/>
        </p:nvSpPr>
        <p:spPr>
          <a:xfrm>
            <a:off x="5992258" y="244742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08399D08-C3A2-4407-A35D-9C7E3F58D361}"/>
              </a:ext>
            </a:extLst>
          </p:cNvPr>
          <p:cNvSpPr/>
          <p:nvPr userDrawn="1"/>
        </p:nvSpPr>
        <p:spPr>
          <a:xfrm>
            <a:off x="5559584" y="477838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6463D302-8E65-461F-ACED-DEF0C4973860}"/>
              </a:ext>
            </a:extLst>
          </p:cNvPr>
          <p:cNvSpPr>
            <a:spLocks/>
          </p:cNvSpPr>
          <p:nvPr userDrawn="1"/>
        </p:nvSpPr>
        <p:spPr>
          <a:xfrm>
            <a:off x="4734246" y="375922"/>
            <a:ext cx="4348794" cy="4348794"/>
          </a:xfrm>
          <a:prstGeom prst="arc">
            <a:avLst>
              <a:gd name="adj1" fmla="val 2067706"/>
              <a:gd name="adj2" fmla="val 1483470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2094696"/>
            <a:ext cx="3942815" cy="52322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457200" indent="-457200">
              <a:buFont typeface="Arial" panose="020B0604020202020204" pitchFamily="34" charset="0"/>
              <a:buNone/>
              <a:defRPr lang="en-US" sz="2800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32139950-8782-44F4-BAAD-F6F4C5CC6129}"/>
              </a:ext>
            </a:extLst>
          </p:cNvPr>
          <p:cNvSpPr>
            <a:spLocks/>
          </p:cNvSpPr>
          <p:nvPr userDrawn="1"/>
        </p:nvSpPr>
        <p:spPr>
          <a:xfrm>
            <a:off x="4836162" y="477838"/>
            <a:ext cx="4144962" cy="4144962"/>
          </a:xfrm>
          <a:prstGeom prst="ellipse">
            <a:avLst/>
          </a:prstGeom>
          <a:blipFill>
            <a:blip r:embed="rId3"/>
            <a:srcRect/>
            <a:stretch>
              <a:fillRect l="-50000" r="-5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34584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arallelogram 17">
            <a:extLst>
              <a:ext uri="{FF2B5EF4-FFF2-40B4-BE49-F238E27FC236}">
                <a16:creationId xmlns:a16="http://schemas.microsoft.com/office/drawing/2014/main" id="{0D10466C-2684-49D4-8955-7E692DF531A9}"/>
              </a:ext>
            </a:extLst>
          </p:cNvPr>
          <p:cNvSpPr/>
          <p:nvPr userDrawn="1"/>
        </p:nvSpPr>
        <p:spPr>
          <a:xfrm>
            <a:off x="6250464" y="477838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ED0E071D-4DBA-4765-AEAA-1886FC05E2CD}"/>
              </a:ext>
            </a:extLst>
          </p:cNvPr>
          <p:cNvSpPr/>
          <p:nvPr userDrawn="1"/>
        </p:nvSpPr>
        <p:spPr>
          <a:xfrm>
            <a:off x="5992258" y="244742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08399D08-C3A2-4407-A35D-9C7E3F58D361}"/>
              </a:ext>
            </a:extLst>
          </p:cNvPr>
          <p:cNvSpPr/>
          <p:nvPr userDrawn="1"/>
        </p:nvSpPr>
        <p:spPr>
          <a:xfrm>
            <a:off x="5559584" y="477838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6463D302-8E65-461F-ACED-DEF0C4973860}"/>
              </a:ext>
            </a:extLst>
          </p:cNvPr>
          <p:cNvSpPr>
            <a:spLocks/>
          </p:cNvSpPr>
          <p:nvPr userDrawn="1"/>
        </p:nvSpPr>
        <p:spPr>
          <a:xfrm>
            <a:off x="4734246" y="375922"/>
            <a:ext cx="4348794" cy="4348794"/>
          </a:xfrm>
          <a:prstGeom prst="arc">
            <a:avLst>
              <a:gd name="adj1" fmla="val 2067706"/>
              <a:gd name="adj2" fmla="val 1483470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2094696"/>
            <a:ext cx="3942815" cy="52322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457200" indent="-457200">
              <a:buFont typeface="Arial" panose="020B0604020202020204" pitchFamily="34" charset="0"/>
              <a:buNone/>
              <a:defRPr lang="en-US" sz="2800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32139950-8782-44F4-BAAD-F6F4C5CC6129}"/>
              </a:ext>
            </a:extLst>
          </p:cNvPr>
          <p:cNvSpPr>
            <a:spLocks/>
          </p:cNvSpPr>
          <p:nvPr userDrawn="1"/>
        </p:nvSpPr>
        <p:spPr>
          <a:xfrm>
            <a:off x="4836162" y="477838"/>
            <a:ext cx="4144962" cy="4144962"/>
          </a:xfrm>
          <a:prstGeom prst="ellipse">
            <a:avLst/>
          </a:prstGeom>
          <a:blipFill>
            <a:blip r:embed="rId3"/>
            <a:srcRect/>
            <a:stretch>
              <a:fillRect l="-24963" r="-2496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07690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arallelogram 17">
            <a:extLst>
              <a:ext uri="{FF2B5EF4-FFF2-40B4-BE49-F238E27FC236}">
                <a16:creationId xmlns:a16="http://schemas.microsoft.com/office/drawing/2014/main" id="{0D10466C-2684-49D4-8955-7E692DF531A9}"/>
              </a:ext>
            </a:extLst>
          </p:cNvPr>
          <p:cNvSpPr/>
          <p:nvPr userDrawn="1"/>
        </p:nvSpPr>
        <p:spPr>
          <a:xfrm>
            <a:off x="6250464" y="477838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ED0E071D-4DBA-4765-AEAA-1886FC05E2CD}"/>
              </a:ext>
            </a:extLst>
          </p:cNvPr>
          <p:cNvSpPr/>
          <p:nvPr userDrawn="1"/>
        </p:nvSpPr>
        <p:spPr>
          <a:xfrm>
            <a:off x="5992258" y="244742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08399D08-C3A2-4407-A35D-9C7E3F58D361}"/>
              </a:ext>
            </a:extLst>
          </p:cNvPr>
          <p:cNvSpPr/>
          <p:nvPr userDrawn="1"/>
        </p:nvSpPr>
        <p:spPr>
          <a:xfrm>
            <a:off x="5559584" y="477838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6463D302-8E65-461F-ACED-DEF0C4973860}"/>
              </a:ext>
            </a:extLst>
          </p:cNvPr>
          <p:cNvSpPr>
            <a:spLocks/>
          </p:cNvSpPr>
          <p:nvPr userDrawn="1"/>
        </p:nvSpPr>
        <p:spPr>
          <a:xfrm>
            <a:off x="4734246" y="375922"/>
            <a:ext cx="4348794" cy="4348794"/>
          </a:xfrm>
          <a:prstGeom prst="arc">
            <a:avLst>
              <a:gd name="adj1" fmla="val 2067706"/>
              <a:gd name="adj2" fmla="val 1483470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2094696"/>
            <a:ext cx="3942815" cy="52322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171450" indent="-171450">
              <a:buNone/>
              <a:defRPr lang="en-US" sz="2800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32139950-8782-44F4-BAAD-F6F4C5CC6129}"/>
              </a:ext>
            </a:extLst>
          </p:cNvPr>
          <p:cNvSpPr>
            <a:spLocks/>
          </p:cNvSpPr>
          <p:nvPr userDrawn="1"/>
        </p:nvSpPr>
        <p:spPr>
          <a:xfrm>
            <a:off x="4836162" y="477838"/>
            <a:ext cx="4144962" cy="4144962"/>
          </a:xfrm>
          <a:prstGeom prst="ellipse">
            <a:avLst/>
          </a:prstGeom>
          <a:blipFill>
            <a:blip r:embed="rId3"/>
            <a:srcRect/>
            <a:stretch>
              <a:fillRect l="-30501" r="-4727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09884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arallelogram 17">
            <a:extLst>
              <a:ext uri="{FF2B5EF4-FFF2-40B4-BE49-F238E27FC236}">
                <a16:creationId xmlns:a16="http://schemas.microsoft.com/office/drawing/2014/main" id="{0D10466C-2684-49D4-8955-7E692DF531A9}"/>
              </a:ext>
            </a:extLst>
          </p:cNvPr>
          <p:cNvSpPr/>
          <p:nvPr userDrawn="1"/>
        </p:nvSpPr>
        <p:spPr>
          <a:xfrm>
            <a:off x="6250464" y="477838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ED0E071D-4DBA-4765-AEAA-1886FC05E2CD}"/>
              </a:ext>
            </a:extLst>
          </p:cNvPr>
          <p:cNvSpPr/>
          <p:nvPr userDrawn="1"/>
        </p:nvSpPr>
        <p:spPr>
          <a:xfrm>
            <a:off x="5992258" y="244742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08399D08-C3A2-4407-A35D-9C7E3F58D361}"/>
              </a:ext>
            </a:extLst>
          </p:cNvPr>
          <p:cNvSpPr/>
          <p:nvPr userDrawn="1"/>
        </p:nvSpPr>
        <p:spPr>
          <a:xfrm>
            <a:off x="5559584" y="477838"/>
            <a:ext cx="2011680" cy="4665662"/>
          </a:xfrm>
          <a:prstGeom prst="parallelogram">
            <a:avLst>
              <a:gd name="adj" fmla="val 8561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6463D302-8E65-461F-ACED-DEF0C4973860}"/>
              </a:ext>
            </a:extLst>
          </p:cNvPr>
          <p:cNvSpPr>
            <a:spLocks/>
          </p:cNvSpPr>
          <p:nvPr userDrawn="1"/>
        </p:nvSpPr>
        <p:spPr>
          <a:xfrm>
            <a:off x="4734246" y="375922"/>
            <a:ext cx="4348794" cy="4348794"/>
          </a:xfrm>
          <a:prstGeom prst="arc">
            <a:avLst>
              <a:gd name="adj1" fmla="val 2067706"/>
              <a:gd name="adj2" fmla="val 1483470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5" y="2094696"/>
            <a:ext cx="3942815" cy="52322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171450" indent="-171450">
              <a:buNone/>
              <a:defRPr lang="en-US" sz="2800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1"/>
          </p:nvPr>
        </p:nvSpPr>
        <p:spPr>
          <a:xfrm>
            <a:off x="4836161" y="477837"/>
            <a:ext cx="4144962" cy="4144962"/>
          </a:xfrm>
          <a:custGeom>
            <a:avLst/>
            <a:gdLst>
              <a:gd name="connsiteX0" fmla="*/ 2072481 w 4144962"/>
              <a:gd name="connsiteY0" fmla="*/ 0 h 4144962"/>
              <a:gd name="connsiteX1" fmla="*/ 4144962 w 4144962"/>
              <a:gd name="connsiteY1" fmla="*/ 2072481 h 4144962"/>
              <a:gd name="connsiteX2" fmla="*/ 2072481 w 4144962"/>
              <a:gd name="connsiteY2" fmla="*/ 4144962 h 4144962"/>
              <a:gd name="connsiteX3" fmla="*/ 0 w 4144962"/>
              <a:gd name="connsiteY3" fmla="*/ 2072481 h 4144962"/>
              <a:gd name="connsiteX4" fmla="*/ 2072481 w 4144962"/>
              <a:gd name="connsiteY4" fmla="*/ 0 h 4144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4962" h="4144962">
                <a:moveTo>
                  <a:pt x="2072481" y="0"/>
                </a:moveTo>
                <a:cubicBezTo>
                  <a:pt x="3217081" y="0"/>
                  <a:pt x="4144962" y="927881"/>
                  <a:pt x="4144962" y="2072481"/>
                </a:cubicBezTo>
                <a:cubicBezTo>
                  <a:pt x="4144962" y="3217081"/>
                  <a:pt x="3217081" y="4144962"/>
                  <a:pt x="2072481" y="4144962"/>
                </a:cubicBezTo>
                <a:cubicBezTo>
                  <a:pt x="927881" y="4144962"/>
                  <a:pt x="0" y="3217081"/>
                  <a:pt x="0" y="2072481"/>
                </a:cubicBezTo>
                <a:cubicBezTo>
                  <a:pt x="0" y="927881"/>
                  <a:pt x="927881" y="0"/>
                  <a:pt x="207248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248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>
          <p15:clr>
            <a:srgbClr val="A4A3A4"/>
          </p15:clr>
        </p15:guide>
        <p15:guide id="2" pos="216">
          <p15:clr>
            <a:srgbClr val="A4A3A4"/>
          </p15:clr>
        </p15:guide>
        <p15:guide id="3" pos="5544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39425031-FC6F-4FB0-813E-6A1892BB2FF3}"/>
              </a:ext>
            </a:extLst>
          </p:cNvPr>
          <p:cNvSpPr/>
          <p:nvPr userDrawn="1"/>
        </p:nvSpPr>
        <p:spPr>
          <a:xfrm rot="16200000" flipH="1">
            <a:off x="1" y="2824224"/>
            <a:ext cx="2338086" cy="233808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B89C0EA-5CC6-4EBC-9DBD-C31BF9EE6EAF}"/>
              </a:ext>
            </a:extLst>
          </p:cNvPr>
          <p:cNvSpPr/>
          <p:nvPr userDrawn="1"/>
        </p:nvSpPr>
        <p:spPr>
          <a:xfrm>
            <a:off x="0" y="2824224"/>
            <a:ext cx="7303624" cy="2319276"/>
          </a:xfrm>
          <a:custGeom>
            <a:avLst/>
            <a:gdLst>
              <a:gd name="connsiteX0" fmla="*/ 0 w 7303624"/>
              <a:gd name="connsiteY0" fmla="*/ 0 h 2571749"/>
              <a:gd name="connsiteX1" fmla="*/ 5106939 w 7303624"/>
              <a:gd name="connsiteY1" fmla="*/ 0 h 2571749"/>
              <a:gd name="connsiteX2" fmla="*/ 7303624 w 7303624"/>
              <a:gd name="connsiteY2" fmla="*/ 2571749 h 2571749"/>
              <a:gd name="connsiteX3" fmla="*/ 0 w 7303624"/>
              <a:gd name="connsiteY3" fmla="*/ 2571749 h 2571749"/>
              <a:gd name="connsiteX0" fmla="*/ 1273215 w 7303624"/>
              <a:gd name="connsiteY0" fmla="*/ 0 h 2584647"/>
              <a:gd name="connsiteX1" fmla="*/ 5106939 w 7303624"/>
              <a:gd name="connsiteY1" fmla="*/ 12898 h 2584647"/>
              <a:gd name="connsiteX2" fmla="*/ 7303624 w 7303624"/>
              <a:gd name="connsiteY2" fmla="*/ 2584647 h 2584647"/>
              <a:gd name="connsiteX3" fmla="*/ 0 w 7303624"/>
              <a:gd name="connsiteY3" fmla="*/ 2584647 h 2584647"/>
              <a:gd name="connsiteX4" fmla="*/ 1273215 w 7303624"/>
              <a:gd name="connsiteY4" fmla="*/ 0 h 2584647"/>
              <a:gd name="connsiteX0" fmla="*/ 1273215 w 7303624"/>
              <a:gd name="connsiteY0" fmla="*/ 0 h 2584647"/>
              <a:gd name="connsiteX1" fmla="*/ 5106939 w 7303624"/>
              <a:gd name="connsiteY1" fmla="*/ 12898 h 2584647"/>
              <a:gd name="connsiteX2" fmla="*/ 7303624 w 7303624"/>
              <a:gd name="connsiteY2" fmla="*/ 2584647 h 2584647"/>
              <a:gd name="connsiteX3" fmla="*/ 0 w 7303624"/>
              <a:gd name="connsiteY3" fmla="*/ 2584647 h 2584647"/>
              <a:gd name="connsiteX4" fmla="*/ 1273215 w 7303624"/>
              <a:gd name="connsiteY4" fmla="*/ 0 h 2584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3624" h="2584647">
                <a:moveTo>
                  <a:pt x="1273215" y="0"/>
                </a:moveTo>
                <a:lnTo>
                  <a:pt x="5106939" y="12898"/>
                </a:lnTo>
                <a:lnTo>
                  <a:pt x="7303624" y="2584647"/>
                </a:lnTo>
                <a:lnTo>
                  <a:pt x="0" y="2584647"/>
                </a:lnTo>
                <a:cubicBezTo>
                  <a:pt x="173621" y="1843490"/>
                  <a:pt x="1273215" y="857250"/>
                  <a:pt x="1273215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00593" y="1064549"/>
            <a:ext cx="3942815" cy="64633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171450" indent="-171450" algn="ctr">
              <a:buNone/>
              <a:defRPr lang="en-US" sz="3600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HANK YOU!</a:t>
            </a:r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3BCB8565-B33D-4DA0-BD29-F0AD17D7B860}"/>
              </a:ext>
            </a:extLst>
          </p:cNvPr>
          <p:cNvSpPr/>
          <p:nvPr userDrawn="1"/>
        </p:nvSpPr>
        <p:spPr>
          <a:xfrm rot="5400000">
            <a:off x="3252486" y="2824224"/>
            <a:ext cx="2338086" cy="233808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8" name="Picture 7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498CB0FB-B3E1-4E79-8DAD-22494CF9D9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4" t="26329" r="9944"/>
          <a:stretch/>
        </p:blipFill>
        <p:spPr>
          <a:xfrm>
            <a:off x="-115747" y="2083442"/>
            <a:ext cx="5028823" cy="3060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69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port&#10;&#10;Description automatically generated">
            <a:extLst>
              <a:ext uri="{FF2B5EF4-FFF2-40B4-BE49-F238E27FC236}">
                <a16:creationId xmlns:a16="http://schemas.microsoft.com/office/drawing/2014/main" id="{864D142A-7689-430B-87E1-88C7535101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02"/>
          <a:stretch/>
        </p:blipFill>
        <p:spPr>
          <a:xfrm>
            <a:off x="-17457" y="0"/>
            <a:ext cx="9161457" cy="5143500"/>
          </a:xfrm>
          <a:custGeom>
            <a:avLst/>
            <a:gdLst>
              <a:gd name="connsiteX0" fmla="*/ 0 w 9161457"/>
              <a:gd name="connsiteY0" fmla="*/ 0 h 5143500"/>
              <a:gd name="connsiteX1" fmla="*/ 9161457 w 9161457"/>
              <a:gd name="connsiteY1" fmla="*/ 0 h 5143500"/>
              <a:gd name="connsiteX2" fmla="*/ 9161457 w 9161457"/>
              <a:gd name="connsiteY2" fmla="*/ 284496 h 5143500"/>
              <a:gd name="connsiteX3" fmla="*/ 9123753 w 9161457"/>
              <a:gd name="connsiteY3" fmla="*/ 238799 h 5143500"/>
              <a:gd name="connsiteX4" fmla="*/ 8894757 w 9161457"/>
              <a:gd name="connsiteY4" fmla="*/ 143945 h 5143500"/>
              <a:gd name="connsiteX5" fmla="*/ 8570907 w 9161457"/>
              <a:gd name="connsiteY5" fmla="*/ 467795 h 5143500"/>
              <a:gd name="connsiteX6" fmla="*/ 8894757 w 9161457"/>
              <a:gd name="connsiteY6" fmla="*/ 791645 h 5143500"/>
              <a:gd name="connsiteX7" fmla="*/ 9123753 w 9161457"/>
              <a:gd name="connsiteY7" fmla="*/ 696792 h 5143500"/>
              <a:gd name="connsiteX8" fmla="*/ 9161457 w 9161457"/>
              <a:gd name="connsiteY8" fmla="*/ 651094 h 5143500"/>
              <a:gd name="connsiteX9" fmla="*/ 9161457 w 9161457"/>
              <a:gd name="connsiteY9" fmla="*/ 5143500 h 5143500"/>
              <a:gd name="connsiteX10" fmla="*/ 0 w 9161457"/>
              <a:gd name="connsiteY10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61457" h="5143500">
                <a:moveTo>
                  <a:pt x="0" y="0"/>
                </a:moveTo>
                <a:lnTo>
                  <a:pt x="9161457" y="0"/>
                </a:lnTo>
                <a:lnTo>
                  <a:pt x="9161457" y="284496"/>
                </a:lnTo>
                <a:lnTo>
                  <a:pt x="9123753" y="238799"/>
                </a:lnTo>
                <a:cubicBezTo>
                  <a:pt x="9065148" y="180193"/>
                  <a:pt x="8984186" y="143945"/>
                  <a:pt x="8894757" y="143945"/>
                </a:cubicBezTo>
                <a:cubicBezTo>
                  <a:pt x="8715900" y="143945"/>
                  <a:pt x="8570907" y="288938"/>
                  <a:pt x="8570907" y="467795"/>
                </a:cubicBezTo>
                <a:cubicBezTo>
                  <a:pt x="8570907" y="646652"/>
                  <a:pt x="8715900" y="791645"/>
                  <a:pt x="8894757" y="791645"/>
                </a:cubicBezTo>
                <a:cubicBezTo>
                  <a:pt x="8984186" y="791645"/>
                  <a:pt x="9065148" y="755397"/>
                  <a:pt x="9123753" y="696792"/>
                </a:cubicBezTo>
                <a:lnTo>
                  <a:pt x="9161457" y="651094"/>
                </a:lnTo>
                <a:lnTo>
                  <a:pt x="9161457" y="5143500"/>
                </a:lnTo>
                <a:lnTo>
                  <a:pt x="0" y="5143500"/>
                </a:lnTo>
                <a:close/>
              </a:path>
            </a:pathLst>
          </a:cu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714" y="1064549"/>
            <a:ext cx="3942815" cy="64633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171450" indent="-171450" algn="l">
              <a:buNone/>
              <a:defRPr lang="en-US" sz="3600" b="1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HANK YOU!</a:t>
            </a:r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017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 userDrawn="1">
          <p15:clr>
            <a:srgbClr val="A4A3A4"/>
          </p15:clr>
        </p15:guide>
        <p15:guide id="2" pos="216" userDrawn="1">
          <p15:clr>
            <a:srgbClr val="A4A3A4"/>
          </p15:clr>
        </p15:guide>
        <p15:guide id="3" pos="5544" userDrawn="1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 flipH="1" flipV="1">
            <a:off x="993406" y="2248652"/>
            <a:ext cx="3908793" cy="2456698"/>
          </a:xfrm>
          <a:custGeom>
            <a:avLst/>
            <a:gdLst>
              <a:gd name="connsiteX0" fmla="*/ 0 w 3667509"/>
              <a:gd name="connsiteY0" fmla="*/ 0 h 2305050"/>
              <a:gd name="connsiteX1" fmla="*/ 3667509 w 3667509"/>
              <a:gd name="connsiteY1" fmla="*/ 0 h 2305050"/>
              <a:gd name="connsiteX2" fmla="*/ 2126053 w 3667509"/>
              <a:gd name="connsiteY2" fmla="*/ 2305050 h 2305050"/>
              <a:gd name="connsiteX3" fmla="*/ 276823 w 3667509"/>
              <a:gd name="connsiteY3" fmla="*/ 2305050 h 2305050"/>
              <a:gd name="connsiteX4" fmla="*/ 0 w 3667509"/>
              <a:gd name="connsiteY4" fmla="*/ 2305050 h 230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7509" h="2305050">
                <a:moveTo>
                  <a:pt x="0" y="0"/>
                </a:moveTo>
                <a:lnTo>
                  <a:pt x="3667509" y="0"/>
                </a:lnTo>
                <a:lnTo>
                  <a:pt x="2126053" y="2305050"/>
                </a:lnTo>
                <a:lnTo>
                  <a:pt x="276823" y="2305050"/>
                </a:lnTo>
                <a:lnTo>
                  <a:pt x="0" y="2305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 userDrawn="1"/>
        </p:nvSpPr>
        <p:spPr>
          <a:xfrm>
            <a:off x="-1" y="0"/>
            <a:ext cx="6266949" cy="4114800"/>
          </a:xfrm>
          <a:custGeom>
            <a:avLst/>
            <a:gdLst>
              <a:gd name="connsiteX0" fmla="*/ 0 w 5880100"/>
              <a:gd name="connsiteY0" fmla="*/ 0 h 3860800"/>
              <a:gd name="connsiteX1" fmla="*/ 1054100 w 5880100"/>
              <a:gd name="connsiteY1" fmla="*/ 0 h 3860800"/>
              <a:gd name="connsiteX2" fmla="*/ 1659763 w 5880100"/>
              <a:gd name="connsiteY2" fmla="*/ 0 h 3860800"/>
              <a:gd name="connsiteX3" fmla="*/ 2713863 w 5880100"/>
              <a:gd name="connsiteY3" fmla="*/ 0 h 3860800"/>
              <a:gd name="connsiteX4" fmla="*/ 2874035 w 5880100"/>
              <a:gd name="connsiteY4" fmla="*/ 0 h 3860800"/>
              <a:gd name="connsiteX5" fmla="*/ 3928135 w 5880100"/>
              <a:gd name="connsiteY5" fmla="*/ 0 h 3860800"/>
              <a:gd name="connsiteX6" fmla="*/ 4826000 w 5880100"/>
              <a:gd name="connsiteY6" fmla="*/ 0 h 3860800"/>
              <a:gd name="connsiteX7" fmla="*/ 5880100 w 5880100"/>
              <a:gd name="connsiteY7" fmla="*/ 0 h 3860800"/>
              <a:gd name="connsiteX8" fmla="*/ 3298267 w 5880100"/>
              <a:gd name="connsiteY8" fmla="*/ 3860800 h 3860800"/>
              <a:gd name="connsiteX9" fmla="*/ 2244167 w 5880100"/>
              <a:gd name="connsiteY9" fmla="*/ 3860800 h 3860800"/>
              <a:gd name="connsiteX10" fmla="*/ 1346302 w 5880100"/>
              <a:gd name="connsiteY10" fmla="*/ 3860800 h 3860800"/>
              <a:gd name="connsiteX11" fmla="*/ 1054100 w 5880100"/>
              <a:gd name="connsiteY11" fmla="*/ 3860800 h 3860800"/>
              <a:gd name="connsiteX12" fmla="*/ 292202 w 5880100"/>
              <a:gd name="connsiteY12" fmla="*/ 3860800 h 3860800"/>
              <a:gd name="connsiteX13" fmla="*/ 0 w 5880100"/>
              <a:gd name="connsiteY13" fmla="*/ 38608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80100" h="3860800">
                <a:moveTo>
                  <a:pt x="0" y="0"/>
                </a:moveTo>
                <a:lnTo>
                  <a:pt x="1054100" y="0"/>
                </a:lnTo>
                <a:lnTo>
                  <a:pt x="1659763" y="0"/>
                </a:lnTo>
                <a:lnTo>
                  <a:pt x="2713863" y="0"/>
                </a:lnTo>
                <a:lnTo>
                  <a:pt x="2874035" y="0"/>
                </a:lnTo>
                <a:lnTo>
                  <a:pt x="3928135" y="0"/>
                </a:lnTo>
                <a:lnTo>
                  <a:pt x="4826000" y="0"/>
                </a:lnTo>
                <a:lnTo>
                  <a:pt x="5880100" y="0"/>
                </a:lnTo>
                <a:lnTo>
                  <a:pt x="3298267" y="3860800"/>
                </a:lnTo>
                <a:lnTo>
                  <a:pt x="2244167" y="3860800"/>
                </a:lnTo>
                <a:lnTo>
                  <a:pt x="1346302" y="3860800"/>
                </a:lnTo>
                <a:lnTo>
                  <a:pt x="1054100" y="3860800"/>
                </a:lnTo>
                <a:lnTo>
                  <a:pt x="292202" y="3860800"/>
                </a:lnTo>
                <a:lnTo>
                  <a:pt x="0" y="386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4685947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5024" y="74540"/>
            <a:ext cx="2496457" cy="26161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171450" indent="-171450" algn="l" defTabSz="457200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lang="en-US" sz="1100" b="1" kern="120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marL="0" lvl="0" indent="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025" y="1115395"/>
            <a:ext cx="4221490" cy="26161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2"/>
                </a:solidFill>
                <a:latin typeface="+mn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1332057" y="504052"/>
            <a:ext cx="7811940" cy="4201298"/>
          </a:xfrm>
          <a:custGeom>
            <a:avLst/>
            <a:gdLst>
              <a:gd name="connsiteX0" fmla="*/ 4597816 w 7811940"/>
              <a:gd name="connsiteY0" fmla="*/ 0 h 4201298"/>
              <a:gd name="connsiteX1" fmla="*/ 7811940 w 7811940"/>
              <a:gd name="connsiteY1" fmla="*/ 0 h 4201298"/>
              <a:gd name="connsiteX2" fmla="*/ 7811940 w 7811940"/>
              <a:gd name="connsiteY2" fmla="*/ 3116646 h 4201298"/>
              <a:gd name="connsiteX3" fmla="*/ 7086601 w 7811940"/>
              <a:gd name="connsiteY3" fmla="*/ 4201298 h 4201298"/>
              <a:gd name="connsiteX4" fmla="*/ 0 w 7811940"/>
              <a:gd name="connsiteY4" fmla="*/ 4201298 h 4201298"/>
              <a:gd name="connsiteX5" fmla="*/ 367281 w 7811940"/>
              <a:gd name="connsiteY5" fmla="*/ 3610748 h 4201298"/>
              <a:gd name="connsiteX6" fmla="*/ 1059751 w 7811940"/>
              <a:gd name="connsiteY6" fmla="*/ 3610748 h 4201298"/>
              <a:gd name="connsiteX7" fmla="*/ 2183200 w 7811940"/>
              <a:gd name="connsiteY7" fmla="*/ 3610748 h 420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811940" h="4201298">
                <a:moveTo>
                  <a:pt x="4597816" y="0"/>
                </a:moveTo>
                <a:lnTo>
                  <a:pt x="7811940" y="0"/>
                </a:lnTo>
                <a:lnTo>
                  <a:pt x="7811940" y="3116646"/>
                </a:lnTo>
                <a:lnTo>
                  <a:pt x="7086601" y="4201298"/>
                </a:lnTo>
                <a:lnTo>
                  <a:pt x="0" y="4201298"/>
                </a:lnTo>
                <a:lnTo>
                  <a:pt x="367281" y="3610748"/>
                </a:lnTo>
                <a:lnTo>
                  <a:pt x="1059751" y="3610748"/>
                </a:lnTo>
                <a:lnTo>
                  <a:pt x="2183200" y="3610748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r">
              <a:buNone/>
              <a:defRPr/>
            </a:lvl1pPr>
          </a:lstStyle>
          <a:p>
            <a:endParaRPr lang="en-US"/>
          </a:p>
        </p:txBody>
      </p:sp>
      <p:sp>
        <p:nvSpPr>
          <p:cNvPr id="7" name="Freeform 6"/>
          <p:cNvSpPr/>
          <p:nvPr userDrawn="1"/>
        </p:nvSpPr>
        <p:spPr>
          <a:xfrm flipH="1" flipV="1">
            <a:off x="8418658" y="3620694"/>
            <a:ext cx="725342" cy="1084656"/>
          </a:xfrm>
          <a:custGeom>
            <a:avLst/>
            <a:gdLst>
              <a:gd name="connsiteX0" fmla="*/ 0 w 725342"/>
              <a:gd name="connsiteY0" fmla="*/ 1084656 h 1084656"/>
              <a:gd name="connsiteX1" fmla="*/ 0 w 725342"/>
              <a:gd name="connsiteY1" fmla="*/ 0 h 1084656"/>
              <a:gd name="connsiteX2" fmla="*/ 725342 w 725342"/>
              <a:gd name="connsiteY2" fmla="*/ 0 h 108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5342" h="1084656">
                <a:moveTo>
                  <a:pt x="0" y="1084656"/>
                </a:moveTo>
                <a:lnTo>
                  <a:pt x="0" y="0"/>
                </a:lnTo>
                <a:lnTo>
                  <a:pt x="72534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640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A4A3A4"/>
          </p15:clr>
        </p15:guide>
        <p15:guide id="2" pos="5544">
          <p15:clr>
            <a:srgbClr val="A4A3A4"/>
          </p15:clr>
        </p15:guide>
        <p15:guide id="3" orient="horz" pos="2964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 flipH="1" flipV="1">
            <a:off x="993406" y="2248652"/>
            <a:ext cx="3908793" cy="2456698"/>
          </a:xfrm>
          <a:custGeom>
            <a:avLst/>
            <a:gdLst>
              <a:gd name="connsiteX0" fmla="*/ 0 w 3667509"/>
              <a:gd name="connsiteY0" fmla="*/ 0 h 2305050"/>
              <a:gd name="connsiteX1" fmla="*/ 3667509 w 3667509"/>
              <a:gd name="connsiteY1" fmla="*/ 0 h 2305050"/>
              <a:gd name="connsiteX2" fmla="*/ 2126053 w 3667509"/>
              <a:gd name="connsiteY2" fmla="*/ 2305050 h 2305050"/>
              <a:gd name="connsiteX3" fmla="*/ 276823 w 3667509"/>
              <a:gd name="connsiteY3" fmla="*/ 2305050 h 2305050"/>
              <a:gd name="connsiteX4" fmla="*/ 0 w 3667509"/>
              <a:gd name="connsiteY4" fmla="*/ 2305050 h 230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7509" h="2305050">
                <a:moveTo>
                  <a:pt x="0" y="0"/>
                </a:moveTo>
                <a:lnTo>
                  <a:pt x="3667509" y="0"/>
                </a:lnTo>
                <a:lnTo>
                  <a:pt x="2126053" y="2305050"/>
                </a:lnTo>
                <a:lnTo>
                  <a:pt x="276823" y="2305050"/>
                </a:lnTo>
                <a:lnTo>
                  <a:pt x="0" y="2305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7046E72-F485-4F13-BDBD-BB0EB2429488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21" r="27353" b="34374"/>
          <a:stretch/>
        </p:blipFill>
        <p:spPr>
          <a:xfrm>
            <a:off x="1332058" y="504052"/>
            <a:ext cx="7811940" cy="4201298"/>
          </a:xfrm>
          <a:custGeom>
            <a:avLst/>
            <a:gdLst>
              <a:gd name="connsiteX0" fmla="*/ 2612913 w 7811940"/>
              <a:gd name="connsiteY0" fmla="*/ 0 h 4201298"/>
              <a:gd name="connsiteX1" fmla="*/ 7811940 w 7811940"/>
              <a:gd name="connsiteY1" fmla="*/ 0 h 4201298"/>
              <a:gd name="connsiteX2" fmla="*/ 7811940 w 7811940"/>
              <a:gd name="connsiteY2" fmla="*/ 4201298 h 4201298"/>
              <a:gd name="connsiteX3" fmla="*/ 0 w 7811940"/>
              <a:gd name="connsiteY3" fmla="*/ 4201298 h 420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1940" h="4201298">
                <a:moveTo>
                  <a:pt x="2612913" y="0"/>
                </a:moveTo>
                <a:lnTo>
                  <a:pt x="7811940" y="0"/>
                </a:lnTo>
                <a:lnTo>
                  <a:pt x="7811940" y="4201298"/>
                </a:lnTo>
                <a:lnTo>
                  <a:pt x="0" y="4201298"/>
                </a:lnTo>
                <a:close/>
              </a:path>
            </a:pathLst>
          </a:custGeom>
        </p:spPr>
      </p:pic>
      <p:sp>
        <p:nvSpPr>
          <p:cNvPr id="8" name="Freeform 7"/>
          <p:cNvSpPr/>
          <p:nvPr userDrawn="1"/>
        </p:nvSpPr>
        <p:spPr>
          <a:xfrm>
            <a:off x="-1" y="0"/>
            <a:ext cx="6266949" cy="4114800"/>
          </a:xfrm>
          <a:custGeom>
            <a:avLst/>
            <a:gdLst>
              <a:gd name="connsiteX0" fmla="*/ 0 w 5880100"/>
              <a:gd name="connsiteY0" fmla="*/ 0 h 3860800"/>
              <a:gd name="connsiteX1" fmla="*/ 1054100 w 5880100"/>
              <a:gd name="connsiteY1" fmla="*/ 0 h 3860800"/>
              <a:gd name="connsiteX2" fmla="*/ 1659763 w 5880100"/>
              <a:gd name="connsiteY2" fmla="*/ 0 h 3860800"/>
              <a:gd name="connsiteX3" fmla="*/ 2713863 w 5880100"/>
              <a:gd name="connsiteY3" fmla="*/ 0 h 3860800"/>
              <a:gd name="connsiteX4" fmla="*/ 2874035 w 5880100"/>
              <a:gd name="connsiteY4" fmla="*/ 0 h 3860800"/>
              <a:gd name="connsiteX5" fmla="*/ 3928135 w 5880100"/>
              <a:gd name="connsiteY5" fmla="*/ 0 h 3860800"/>
              <a:gd name="connsiteX6" fmla="*/ 4826000 w 5880100"/>
              <a:gd name="connsiteY6" fmla="*/ 0 h 3860800"/>
              <a:gd name="connsiteX7" fmla="*/ 5880100 w 5880100"/>
              <a:gd name="connsiteY7" fmla="*/ 0 h 3860800"/>
              <a:gd name="connsiteX8" fmla="*/ 3298267 w 5880100"/>
              <a:gd name="connsiteY8" fmla="*/ 3860800 h 3860800"/>
              <a:gd name="connsiteX9" fmla="*/ 2244167 w 5880100"/>
              <a:gd name="connsiteY9" fmla="*/ 3860800 h 3860800"/>
              <a:gd name="connsiteX10" fmla="*/ 1346302 w 5880100"/>
              <a:gd name="connsiteY10" fmla="*/ 3860800 h 3860800"/>
              <a:gd name="connsiteX11" fmla="*/ 1054100 w 5880100"/>
              <a:gd name="connsiteY11" fmla="*/ 3860800 h 3860800"/>
              <a:gd name="connsiteX12" fmla="*/ 292202 w 5880100"/>
              <a:gd name="connsiteY12" fmla="*/ 3860800 h 3860800"/>
              <a:gd name="connsiteX13" fmla="*/ 0 w 5880100"/>
              <a:gd name="connsiteY13" fmla="*/ 38608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80100" h="3860800">
                <a:moveTo>
                  <a:pt x="0" y="0"/>
                </a:moveTo>
                <a:lnTo>
                  <a:pt x="1054100" y="0"/>
                </a:lnTo>
                <a:lnTo>
                  <a:pt x="1659763" y="0"/>
                </a:lnTo>
                <a:lnTo>
                  <a:pt x="2713863" y="0"/>
                </a:lnTo>
                <a:lnTo>
                  <a:pt x="2874035" y="0"/>
                </a:lnTo>
                <a:lnTo>
                  <a:pt x="3928135" y="0"/>
                </a:lnTo>
                <a:lnTo>
                  <a:pt x="4826000" y="0"/>
                </a:lnTo>
                <a:lnTo>
                  <a:pt x="5880100" y="0"/>
                </a:lnTo>
                <a:lnTo>
                  <a:pt x="3298267" y="3860800"/>
                </a:lnTo>
                <a:lnTo>
                  <a:pt x="2244167" y="3860800"/>
                </a:lnTo>
                <a:lnTo>
                  <a:pt x="1346302" y="3860800"/>
                </a:lnTo>
                <a:lnTo>
                  <a:pt x="1054100" y="3860800"/>
                </a:lnTo>
                <a:lnTo>
                  <a:pt x="292202" y="3860800"/>
                </a:lnTo>
                <a:lnTo>
                  <a:pt x="0" y="386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4685947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5024" y="74540"/>
            <a:ext cx="2496457" cy="26161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171450" indent="-171450" algn="l" defTabSz="457200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None/>
              <a:defRPr lang="en-US" sz="1100" b="1" kern="120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marL="0" lvl="0" indent="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025" y="1115395"/>
            <a:ext cx="4221490" cy="26161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2"/>
                </a:solidFill>
                <a:latin typeface="+mn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 flipH="1" flipV="1">
            <a:off x="8418658" y="3620694"/>
            <a:ext cx="725342" cy="1084656"/>
          </a:xfrm>
          <a:custGeom>
            <a:avLst/>
            <a:gdLst>
              <a:gd name="connsiteX0" fmla="*/ 0 w 725342"/>
              <a:gd name="connsiteY0" fmla="*/ 1084656 h 1084656"/>
              <a:gd name="connsiteX1" fmla="*/ 0 w 725342"/>
              <a:gd name="connsiteY1" fmla="*/ 0 h 1084656"/>
              <a:gd name="connsiteX2" fmla="*/ 725342 w 725342"/>
              <a:gd name="connsiteY2" fmla="*/ 0 h 108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5342" h="1084656">
                <a:moveTo>
                  <a:pt x="0" y="1084656"/>
                </a:moveTo>
                <a:lnTo>
                  <a:pt x="0" y="0"/>
                </a:lnTo>
                <a:lnTo>
                  <a:pt x="72534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275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A4A3A4"/>
          </p15:clr>
        </p15:guide>
        <p15:guide id="2" pos="5544">
          <p15:clr>
            <a:srgbClr val="A4A3A4"/>
          </p15:clr>
        </p15:guide>
        <p15:guide id="3" orient="horz" pos="2964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 flipH="1" flipV="1">
            <a:off x="993406" y="2248652"/>
            <a:ext cx="3908793" cy="2456698"/>
          </a:xfrm>
          <a:custGeom>
            <a:avLst/>
            <a:gdLst>
              <a:gd name="connsiteX0" fmla="*/ 0 w 3667509"/>
              <a:gd name="connsiteY0" fmla="*/ 0 h 2305050"/>
              <a:gd name="connsiteX1" fmla="*/ 3667509 w 3667509"/>
              <a:gd name="connsiteY1" fmla="*/ 0 h 2305050"/>
              <a:gd name="connsiteX2" fmla="*/ 2126053 w 3667509"/>
              <a:gd name="connsiteY2" fmla="*/ 2305050 h 2305050"/>
              <a:gd name="connsiteX3" fmla="*/ 276823 w 3667509"/>
              <a:gd name="connsiteY3" fmla="*/ 2305050 h 2305050"/>
              <a:gd name="connsiteX4" fmla="*/ 0 w 3667509"/>
              <a:gd name="connsiteY4" fmla="*/ 2305050 h 230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7509" h="2305050">
                <a:moveTo>
                  <a:pt x="0" y="0"/>
                </a:moveTo>
                <a:lnTo>
                  <a:pt x="3667509" y="0"/>
                </a:lnTo>
                <a:lnTo>
                  <a:pt x="2126053" y="2305050"/>
                </a:lnTo>
                <a:lnTo>
                  <a:pt x="276823" y="2305050"/>
                </a:lnTo>
                <a:lnTo>
                  <a:pt x="0" y="2305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32058" y="504052"/>
            <a:ext cx="7811940" cy="4201298"/>
          </a:xfrm>
          <a:custGeom>
            <a:avLst/>
            <a:gdLst>
              <a:gd name="connsiteX0" fmla="*/ 2809534 w 7811940"/>
              <a:gd name="connsiteY0" fmla="*/ 0 h 4201298"/>
              <a:gd name="connsiteX1" fmla="*/ 4933649 w 7811940"/>
              <a:gd name="connsiteY1" fmla="*/ 0 h 4201298"/>
              <a:gd name="connsiteX2" fmla="*/ 5150624 w 7811940"/>
              <a:gd name="connsiteY2" fmla="*/ 0 h 4201298"/>
              <a:gd name="connsiteX3" fmla="*/ 5251622 w 7811940"/>
              <a:gd name="connsiteY3" fmla="*/ 0 h 4201298"/>
              <a:gd name="connsiteX4" fmla="*/ 7465425 w 7811940"/>
              <a:gd name="connsiteY4" fmla="*/ 0 h 4201298"/>
              <a:gd name="connsiteX5" fmla="*/ 7811940 w 7811940"/>
              <a:gd name="connsiteY5" fmla="*/ 0 h 4201298"/>
              <a:gd name="connsiteX6" fmla="*/ 7811940 w 7811940"/>
              <a:gd name="connsiteY6" fmla="*/ 4201298 h 4201298"/>
              <a:gd name="connsiteX7" fmla="*/ 5843659 w 7811940"/>
              <a:gd name="connsiteY7" fmla="*/ 4201298 h 4201298"/>
              <a:gd name="connsiteX8" fmla="*/ 5251622 w 7811940"/>
              <a:gd name="connsiteY8" fmla="*/ 4201298 h 4201298"/>
              <a:gd name="connsiteX9" fmla="*/ 4403675 w 7811940"/>
              <a:gd name="connsiteY9" fmla="*/ 4201298 h 4201298"/>
              <a:gd name="connsiteX10" fmla="*/ 3445479 w 7811940"/>
              <a:gd name="connsiteY10" fmla="*/ 4201298 h 4201298"/>
              <a:gd name="connsiteX11" fmla="*/ 2124116 w 7811940"/>
              <a:gd name="connsiteY11" fmla="*/ 4201298 h 4201298"/>
              <a:gd name="connsiteX12" fmla="*/ 2088874 w 7811940"/>
              <a:gd name="connsiteY12" fmla="*/ 4201298 h 4201298"/>
              <a:gd name="connsiteX13" fmla="*/ 0 w 7811940"/>
              <a:gd name="connsiteY13" fmla="*/ 4201298 h 420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811940" h="4201298">
                <a:moveTo>
                  <a:pt x="2809534" y="0"/>
                </a:moveTo>
                <a:lnTo>
                  <a:pt x="4933649" y="0"/>
                </a:lnTo>
                <a:lnTo>
                  <a:pt x="5150624" y="0"/>
                </a:lnTo>
                <a:lnTo>
                  <a:pt x="5251622" y="0"/>
                </a:lnTo>
                <a:lnTo>
                  <a:pt x="7465425" y="0"/>
                </a:lnTo>
                <a:lnTo>
                  <a:pt x="7811940" y="0"/>
                </a:lnTo>
                <a:lnTo>
                  <a:pt x="7811940" y="4201298"/>
                </a:lnTo>
                <a:lnTo>
                  <a:pt x="5843659" y="4201298"/>
                </a:lnTo>
                <a:lnTo>
                  <a:pt x="5251622" y="4201298"/>
                </a:lnTo>
                <a:lnTo>
                  <a:pt x="4403675" y="4201298"/>
                </a:lnTo>
                <a:lnTo>
                  <a:pt x="3445479" y="4201298"/>
                </a:lnTo>
                <a:lnTo>
                  <a:pt x="2124116" y="4201298"/>
                </a:lnTo>
                <a:lnTo>
                  <a:pt x="2088874" y="4201298"/>
                </a:lnTo>
                <a:lnTo>
                  <a:pt x="0" y="4201298"/>
                </a:lnTo>
                <a:close/>
              </a:path>
            </a:pathLst>
          </a:custGeom>
        </p:spPr>
      </p:pic>
      <p:sp>
        <p:nvSpPr>
          <p:cNvPr id="8" name="Freeform 7"/>
          <p:cNvSpPr/>
          <p:nvPr userDrawn="1"/>
        </p:nvSpPr>
        <p:spPr>
          <a:xfrm>
            <a:off x="-1" y="0"/>
            <a:ext cx="6266949" cy="4114800"/>
          </a:xfrm>
          <a:custGeom>
            <a:avLst/>
            <a:gdLst>
              <a:gd name="connsiteX0" fmla="*/ 0 w 5880100"/>
              <a:gd name="connsiteY0" fmla="*/ 0 h 3860800"/>
              <a:gd name="connsiteX1" fmla="*/ 1054100 w 5880100"/>
              <a:gd name="connsiteY1" fmla="*/ 0 h 3860800"/>
              <a:gd name="connsiteX2" fmla="*/ 1659763 w 5880100"/>
              <a:gd name="connsiteY2" fmla="*/ 0 h 3860800"/>
              <a:gd name="connsiteX3" fmla="*/ 2713863 w 5880100"/>
              <a:gd name="connsiteY3" fmla="*/ 0 h 3860800"/>
              <a:gd name="connsiteX4" fmla="*/ 2874035 w 5880100"/>
              <a:gd name="connsiteY4" fmla="*/ 0 h 3860800"/>
              <a:gd name="connsiteX5" fmla="*/ 3928135 w 5880100"/>
              <a:gd name="connsiteY5" fmla="*/ 0 h 3860800"/>
              <a:gd name="connsiteX6" fmla="*/ 4826000 w 5880100"/>
              <a:gd name="connsiteY6" fmla="*/ 0 h 3860800"/>
              <a:gd name="connsiteX7" fmla="*/ 5880100 w 5880100"/>
              <a:gd name="connsiteY7" fmla="*/ 0 h 3860800"/>
              <a:gd name="connsiteX8" fmla="*/ 3298267 w 5880100"/>
              <a:gd name="connsiteY8" fmla="*/ 3860800 h 3860800"/>
              <a:gd name="connsiteX9" fmla="*/ 2244167 w 5880100"/>
              <a:gd name="connsiteY9" fmla="*/ 3860800 h 3860800"/>
              <a:gd name="connsiteX10" fmla="*/ 1346302 w 5880100"/>
              <a:gd name="connsiteY10" fmla="*/ 3860800 h 3860800"/>
              <a:gd name="connsiteX11" fmla="*/ 1054100 w 5880100"/>
              <a:gd name="connsiteY11" fmla="*/ 3860800 h 3860800"/>
              <a:gd name="connsiteX12" fmla="*/ 292202 w 5880100"/>
              <a:gd name="connsiteY12" fmla="*/ 3860800 h 3860800"/>
              <a:gd name="connsiteX13" fmla="*/ 0 w 5880100"/>
              <a:gd name="connsiteY13" fmla="*/ 38608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80100" h="3860800">
                <a:moveTo>
                  <a:pt x="0" y="0"/>
                </a:moveTo>
                <a:lnTo>
                  <a:pt x="1054100" y="0"/>
                </a:lnTo>
                <a:lnTo>
                  <a:pt x="1659763" y="0"/>
                </a:lnTo>
                <a:lnTo>
                  <a:pt x="2713863" y="0"/>
                </a:lnTo>
                <a:lnTo>
                  <a:pt x="2874035" y="0"/>
                </a:lnTo>
                <a:lnTo>
                  <a:pt x="3928135" y="0"/>
                </a:lnTo>
                <a:lnTo>
                  <a:pt x="4826000" y="0"/>
                </a:lnTo>
                <a:lnTo>
                  <a:pt x="5880100" y="0"/>
                </a:lnTo>
                <a:lnTo>
                  <a:pt x="3298267" y="3860800"/>
                </a:lnTo>
                <a:lnTo>
                  <a:pt x="2244167" y="3860800"/>
                </a:lnTo>
                <a:lnTo>
                  <a:pt x="1346302" y="3860800"/>
                </a:lnTo>
                <a:lnTo>
                  <a:pt x="1054100" y="3860800"/>
                </a:lnTo>
                <a:lnTo>
                  <a:pt x="292202" y="3860800"/>
                </a:lnTo>
                <a:lnTo>
                  <a:pt x="0" y="386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4685947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5024" y="74540"/>
            <a:ext cx="2496457" cy="26161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171450" indent="-171450">
              <a:buNone/>
              <a:defRPr lang="en-US" sz="1100" b="1" dirty="0" smtClean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025" y="1115395"/>
            <a:ext cx="4221490" cy="26161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2"/>
                </a:solidFill>
                <a:latin typeface="+mn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 flipH="1" flipV="1">
            <a:off x="8418658" y="3620694"/>
            <a:ext cx="725342" cy="1084656"/>
          </a:xfrm>
          <a:custGeom>
            <a:avLst/>
            <a:gdLst>
              <a:gd name="connsiteX0" fmla="*/ 0 w 725342"/>
              <a:gd name="connsiteY0" fmla="*/ 1084656 h 1084656"/>
              <a:gd name="connsiteX1" fmla="*/ 0 w 725342"/>
              <a:gd name="connsiteY1" fmla="*/ 0 h 1084656"/>
              <a:gd name="connsiteX2" fmla="*/ 725342 w 725342"/>
              <a:gd name="connsiteY2" fmla="*/ 0 h 108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5342" h="1084656">
                <a:moveTo>
                  <a:pt x="0" y="1084656"/>
                </a:moveTo>
                <a:lnTo>
                  <a:pt x="0" y="0"/>
                </a:lnTo>
                <a:lnTo>
                  <a:pt x="72534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879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A4A3A4"/>
          </p15:clr>
        </p15:guide>
        <p15:guide id="2" pos="5544">
          <p15:clr>
            <a:srgbClr val="A4A3A4"/>
          </p15:clr>
        </p15:guide>
        <p15:guide id="3" orient="horz" pos="2964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3998" cy="5144709"/>
          </a:xfrm>
          <a:prstGeom prst="rect">
            <a:avLst/>
          </a:prstGeom>
        </p:spPr>
      </p:pic>
      <p:sp>
        <p:nvSpPr>
          <p:cNvPr id="26" name="Freeform 25"/>
          <p:cNvSpPr/>
          <p:nvPr userDrawn="1"/>
        </p:nvSpPr>
        <p:spPr>
          <a:xfrm>
            <a:off x="3149601" y="1613206"/>
            <a:ext cx="3806849" cy="3530295"/>
          </a:xfrm>
          <a:custGeom>
            <a:avLst/>
            <a:gdLst>
              <a:gd name="connsiteX0" fmla="*/ 2451578 w 3806849"/>
              <a:gd name="connsiteY0" fmla="*/ 0 h 3530295"/>
              <a:gd name="connsiteX1" fmla="*/ 2667478 w 3806849"/>
              <a:gd name="connsiteY1" fmla="*/ 0 h 3530295"/>
              <a:gd name="connsiteX2" fmla="*/ 215900 w 3806849"/>
              <a:gd name="connsiteY2" fmla="*/ 3530294 h 3530295"/>
              <a:gd name="connsiteX3" fmla="*/ 3806849 w 3806849"/>
              <a:gd name="connsiteY3" fmla="*/ 3530294 h 3530295"/>
              <a:gd name="connsiteX4" fmla="*/ 3806848 w 3806849"/>
              <a:gd name="connsiteY4" fmla="*/ 3530295 h 3530295"/>
              <a:gd name="connsiteX5" fmla="*/ 0 w 3806849"/>
              <a:gd name="connsiteY5" fmla="*/ 3530295 h 353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3530295">
                <a:moveTo>
                  <a:pt x="2451578" y="0"/>
                </a:moveTo>
                <a:lnTo>
                  <a:pt x="2667478" y="0"/>
                </a:lnTo>
                <a:lnTo>
                  <a:pt x="215900" y="3530294"/>
                </a:lnTo>
                <a:lnTo>
                  <a:pt x="3806849" y="3530294"/>
                </a:lnTo>
                <a:lnTo>
                  <a:pt x="3806848" y="3530295"/>
                </a:lnTo>
                <a:lnTo>
                  <a:pt x="0" y="35302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 userDrawn="1"/>
        </p:nvSpPr>
        <p:spPr>
          <a:xfrm>
            <a:off x="2883761" y="2871371"/>
            <a:ext cx="3806849" cy="2272130"/>
          </a:xfrm>
          <a:custGeom>
            <a:avLst/>
            <a:gdLst>
              <a:gd name="connsiteX0" fmla="*/ 1577858 w 3806849"/>
              <a:gd name="connsiteY0" fmla="*/ 0 h 2272130"/>
              <a:gd name="connsiteX1" fmla="*/ 2059598 w 3806849"/>
              <a:gd name="connsiteY1" fmla="*/ 0 h 2272130"/>
              <a:gd name="connsiteX2" fmla="*/ 481740 w 3806849"/>
              <a:gd name="connsiteY2" fmla="*/ 2272129 h 2272130"/>
              <a:gd name="connsiteX3" fmla="*/ 3806849 w 3806849"/>
              <a:gd name="connsiteY3" fmla="*/ 2272129 h 2272130"/>
              <a:gd name="connsiteX4" fmla="*/ 3806848 w 3806849"/>
              <a:gd name="connsiteY4" fmla="*/ 2272130 h 2272130"/>
              <a:gd name="connsiteX5" fmla="*/ 0 w 3806849"/>
              <a:gd name="connsiteY5" fmla="*/ 2272130 h 2272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2272130">
                <a:moveTo>
                  <a:pt x="1577858" y="0"/>
                </a:moveTo>
                <a:lnTo>
                  <a:pt x="2059598" y="0"/>
                </a:lnTo>
                <a:lnTo>
                  <a:pt x="481740" y="2272129"/>
                </a:lnTo>
                <a:lnTo>
                  <a:pt x="3806849" y="2272129"/>
                </a:lnTo>
                <a:lnTo>
                  <a:pt x="3806848" y="2272130"/>
                </a:lnTo>
                <a:lnTo>
                  <a:pt x="0" y="2272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0149" y="1221581"/>
            <a:ext cx="856376" cy="204894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550149" y="1605586"/>
            <a:ext cx="2578101" cy="0"/>
          </a:xfrm>
          <a:prstGeom prst="lin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149" y="1721278"/>
            <a:ext cx="3615451" cy="13849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400" b="1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OLLABERA ENGINEERING SOLUTION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149" y="3264053"/>
            <a:ext cx="3196351" cy="498598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9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quae </a:t>
            </a:r>
            <a:r>
              <a:rPr lang="en-US" dirty="0" err="1"/>
              <a:t>ab</a:t>
            </a:r>
            <a:r>
              <a:rPr lang="en-US" dirty="0"/>
              <a:t>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explicabo</a:t>
            </a:r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67C16B9-D467-4B72-BC56-283BB9433B84}"/>
              </a:ext>
            </a:extLst>
          </p:cNvPr>
          <p:cNvSpPr/>
          <p:nvPr userDrawn="1"/>
        </p:nvSpPr>
        <p:spPr>
          <a:xfrm>
            <a:off x="3550920" y="-1"/>
            <a:ext cx="5593078" cy="5142291"/>
          </a:xfrm>
          <a:custGeom>
            <a:avLst/>
            <a:gdLst>
              <a:gd name="connsiteX0" fmla="*/ 3513470 w 5593078"/>
              <a:gd name="connsiteY0" fmla="*/ 0 h 5142291"/>
              <a:gd name="connsiteX1" fmla="*/ 5593078 w 5593078"/>
              <a:gd name="connsiteY1" fmla="*/ 0 h 5142291"/>
              <a:gd name="connsiteX2" fmla="*/ 5593078 w 5593078"/>
              <a:gd name="connsiteY2" fmla="*/ 1424535 h 5142291"/>
              <a:gd name="connsiteX3" fmla="*/ 3052921 w 5593078"/>
              <a:gd name="connsiteY3" fmla="*/ 5142291 h 5142291"/>
              <a:gd name="connsiteX4" fmla="*/ 0 w 5593078"/>
              <a:gd name="connsiteY4" fmla="*/ 5142291 h 514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3078" h="5142291">
                <a:moveTo>
                  <a:pt x="3513470" y="0"/>
                </a:moveTo>
                <a:lnTo>
                  <a:pt x="5593078" y="0"/>
                </a:lnTo>
                <a:lnTo>
                  <a:pt x="5593078" y="1424535"/>
                </a:lnTo>
                <a:lnTo>
                  <a:pt x="3052921" y="5142291"/>
                </a:lnTo>
                <a:lnTo>
                  <a:pt x="0" y="5142291"/>
                </a:lnTo>
                <a:close/>
              </a:path>
            </a:pathLst>
          </a:custGeom>
          <a:blipFill>
            <a:blip r:embed="rId4"/>
            <a:srcRect/>
            <a:stretch>
              <a:fillRect l="-839" t="-400" r="-86355" b="-387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980284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 flipH="1" flipV="1">
            <a:off x="993406" y="2248652"/>
            <a:ext cx="3908793" cy="2456698"/>
          </a:xfrm>
          <a:custGeom>
            <a:avLst/>
            <a:gdLst>
              <a:gd name="connsiteX0" fmla="*/ 0 w 3667509"/>
              <a:gd name="connsiteY0" fmla="*/ 0 h 2305050"/>
              <a:gd name="connsiteX1" fmla="*/ 3667509 w 3667509"/>
              <a:gd name="connsiteY1" fmla="*/ 0 h 2305050"/>
              <a:gd name="connsiteX2" fmla="*/ 2126053 w 3667509"/>
              <a:gd name="connsiteY2" fmla="*/ 2305050 h 2305050"/>
              <a:gd name="connsiteX3" fmla="*/ 276823 w 3667509"/>
              <a:gd name="connsiteY3" fmla="*/ 2305050 h 2305050"/>
              <a:gd name="connsiteX4" fmla="*/ 0 w 3667509"/>
              <a:gd name="connsiteY4" fmla="*/ 2305050 h 230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7509" h="2305050">
                <a:moveTo>
                  <a:pt x="0" y="0"/>
                </a:moveTo>
                <a:lnTo>
                  <a:pt x="3667509" y="0"/>
                </a:lnTo>
                <a:lnTo>
                  <a:pt x="2126053" y="2305050"/>
                </a:lnTo>
                <a:lnTo>
                  <a:pt x="276823" y="2305050"/>
                </a:lnTo>
                <a:lnTo>
                  <a:pt x="0" y="2305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1">
            <a:extLst>
              <a:ext uri="{FF2B5EF4-FFF2-40B4-BE49-F238E27FC236}">
                <a16:creationId xmlns:a16="http://schemas.microsoft.com/office/drawing/2014/main" id="{C7FF6900-B6D5-4789-9F20-BC49FB0F7419}"/>
              </a:ext>
            </a:extLst>
          </p:cNvPr>
          <p:cNvSpPr/>
          <p:nvPr userDrawn="1"/>
        </p:nvSpPr>
        <p:spPr>
          <a:xfrm>
            <a:off x="1332058" y="504052"/>
            <a:ext cx="7811942" cy="4201298"/>
          </a:xfrm>
          <a:custGeom>
            <a:avLst/>
            <a:gdLst>
              <a:gd name="connsiteX0" fmla="*/ 2594638 w 7811942"/>
              <a:gd name="connsiteY0" fmla="*/ 0 h 4201298"/>
              <a:gd name="connsiteX1" fmla="*/ 7811942 w 7811942"/>
              <a:gd name="connsiteY1" fmla="*/ 0 h 4201298"/>
              <a:gd name="connsiteX2" fmla="*/ 7811942 w 7811942"/>
              <a:gd name="connsiteY2" fmla="*/ 4201298 h 4201298"/>
              <a:gd name="connsiteX3" fmla="*/ 0 w 7811942"/>
              <a:gd name="connsiteY3" fmla="*/ 4201298 h 420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1942" h="4201298">
                <a:moveTo>
                  <a:pt x="2594638" y="0"/>
                </a:moveTo>
                <a:lnTo>
                  <a:pt x="7811942" y="0"/>
                </a:lnTo>
                <a:lnTo>
                  <a:pt x="7811942" y="4201298"/>
                </a:lnTo>
                <a:lnTo>
                  <a:pt x="0" y="4201298"/>
                </a:lnTo>
                <a:close/>
              </a:path>
            </a:pathLst>
          </a:custGeom>
          <a:blipFill>
            <a:blip r:embed="rId2"/>
            <a:srcRect/>
            <a:stretch>
              <a:fillRect l="-3" t="-9827" r="-21927" b="-175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8" name="Freeform 7"/>
          <p:cNvSpPr/>
          <p:nvPr userDrawn="1"/>
        </p:nvSpPr>
        <p:spPr>
          <a:xfrm>
            <a:off x="-1" y="0"/>
            <a:ext cx="6266949" cy="4114800"/>
          </a:xfrm>
          <a:custGeom>
            <a:avLst/>
            <a:gdLst>
              <a:gd name="connsiteX0" fmla="*/ 0 w 5880100"/>
              <a:gd name="connsiteY0" fmla="*/ 0 h 3860800"/>
              <a:gd name="connsiteX1" fmla="*/ 1054100 w 5880100"/>
              <a:gd name="connsiteY1" fmla="*/ 0 h 3860800"/>
              <a:gd name="connsiteX2" fmla="*/ 1659763 w 5880100"/>
              <a:gd name="connsiteY2" fmla="*/ 0 h 3860800"/>
              <a:gd name="connsiteX3" fmla="*/ 2713863 w 5880100"/>
              <a:gd name="connsiteY3" fmla="*/ 0 h 3860800"/>
              <a:gd name="connsiteX4" fmla="*/ 2874035 w 5880100"/>
              <a:gd name="connsiteY4" fmla="*/ 0 h 3860800"/>
              <a:gd name="connsiteX5" fmla="*/ 3928135 w 5880100"/>
              <a:gd name="connsiteY5" fmla="*/ 0 h 3860800"/>
              <a:gd name="connsiteX6" fmla="*/ 4826000 w 5880100"/>
              <a:gd name="connsiteY6" fmla="*/ 0 h 3860800"/>
              <a:gd name="connsiteX7" fmla="*/ 5880100 w 5880100"/>
              <a:gd name="connsiteY7" fmla="*/ 0 h 3860800"/>
              <a:gd name="connsiteX8" fmla="*/ 3298267 w 5880100"/>
              <a:gd name="connsiteY8" fmla="*/ 3860800 h 3860800"/>
              <a:gd name="connsiteX9" fmla="*/ 2244167 w 5880100"/>
              <a:gd name="connsiteY9" fmla="*/ 3860800 h 3860800"/>
              <a:gd name="connsiteX10" fmla="*/ 1346302 w 5880100"/>
              <a:gd name="connsiteY10" fmla="*/ 3860800 h 3860800"/>
              <a:gd name="connsiteX11" fmla="*/ 1054100 w 5880100"/>
              <a:gd name="connsiteY11" fmla="*/ 3860800 h 3860800"/>
              <a:gd name="connsiteX12" fmla="*/ 292202 w 5880100"/>
              <a:gd name="connsiteY12" fmla="*/ 3860800 h 3860800"/>
              <a:gd name="connsiteX13" fmla="*/ 0 w 5880100"/>
              <a:gd name="connsiteY13" fmla="*/ 38608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80100" h="3860800">
                <a:moveTo>
                  <a:pt x="0" y="0"/>
                </a:moveTo>
                <a:lnTo>
                  <a:pt x="1054100" y="0"/>
                </a:lnTo>
                <a:lnTo>
                  <a:pt x="1659763" y="0"/>
                </a:lnTo>
                <a:lnTo>
                  <a:pt x="2713863" y="0"/>
                </a:lnTo>
                <a:lnTo>
                  <a:pt x="2874035" y="0"/>
                </a:lnTo>
                <a:lnTo>
                  <a:pt x="3928135" y="0"/>
                </a:lnTo>
                <a:lnTo>
                  <a:pt x="4826000" y="0"/>
                </a:lnTo>
                <a:lnTo>
                  <a:pt x="5880100" y="0"/>
                </a:lnTo>
                <a:lnTo>
                  <a:pt x="3298267" y="3860800"/>
                </a:lnTo>
                <a:lnTo>
                  <a:pt x="2244167" y="3860800"/>
                </a:lnTo>
                <a:lnTo>
                  <a:pt x="1346302" y="3860800"/>
                </a:lnTo>
                <a:lnTo>
                  <a:pt x="1054100" y="3860800"/>
                </a:lnTo>
                <a:lnTo>
                  <a:pt x="292202" y="3860800"/>
                </a:lnTo>
                <a:lnTo>
                  <a:pt x="0" y="386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4685947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5024" y="74540"/>
            <a:ext cx="2496457" cy="26161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171450" indent="-171450">
              <a:buNone/>
              <a:defRPr lang="en-US" sz="1100" b="1" dirty="0" smtClean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025" y="1115395"/>
            <a:ext cx="4221490" cy="26161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2"/>
                </a:solidFill>
                <a:latin typeface="+mn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 flipH="1" flipV="1">
            <a:off x="8418658" y="3620694"/>
            <a:ext cx="725342" cy="1084656"/>
          </a:xfrm>
          <a:custGeom>
            <a:avLst/>
            <a:gdLst>
              <a:gd name="connsiteX0" fmla="*/ 0 w 725342"/>
              <a:gd name="connsiteY0" fmla="*/ 1084656 h 1084656"/>
              <a:gd name="connsiteX1" fmla="*/ 0 w 725342"/>
              <a:gd name="connsiteY1" fmla="*/ 0 h 1084656"/>
              <a:gd name="connsiteX2" fmla="*/ 725342 w 725342"/>
              <a:gd name="connsiteY2" fmla="*/ 0 h 108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5342" h="1084656">
                <a:moveTo>
                  <a:pt x="0" y="1084656"/>
                </a:moveTo>
                <a:lnTo>
                  <a:pt x="0" y="0"/>
                </a:lnTo>
                <a:lnTo>
                  <a:pt x="72534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860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A4A3A4"/>
          </p15:clr>
        </p15:guide>
        <p15:guide id="2" pos="5544">
          <p15:clr>
            <a:srgbClr val="A4A3A4"/>
          </p15:clr>
        </p15:guide>
        <p15:guide id="3" orient="horz" pos="2964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 flipH="1" flipV="1">
            <a:off x="993406" y="2248652"/>
            <a:ext cx="3908793" cy="2456698"/>
          </a:xfrm>
          <a:custGeom>
            <a:avLst/>
            <a:gdLst>
              <a:gd name="connsiteX0" fmla="*/ 0 w 3667509"/>
              <a:gd name="connsiteY0" fmla="*/ 0 h 2305050"/>
              <a:gd name="connsiteX1" fmla="*/ 3667509 w 3667509"/>
              <a:gd name="connsiteY1" fmla="*/ 0 h 2305050"/>
              <a:gd name="connsiteX2" fmla="*/ 2126053 w 3667509"/>
              <a:gd name="connsiteY2" fmla="*/ 2305050 h 2305050"/>
              <a:gd name="connsiteX3" fmla="*/ 276823 w 3667509"/>
              <a:gd name="connsiteY3" fmla="*/ 2305050 h 2305050"/>
              <a:gd name="connsiteX4" fmla="*/ 0 w 3667509"/>
              <a:gd name="connsiteY4" fmla="*/ 2305050 h 230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7509" h="2305050">
                <a:moveTo>
                  <a:pt x="0" y="0"/>
                </a:moveTo>
                <a:lnTo>
                  <a:pt x="3667509" y="0"/>
                </a:lnTo>
                <a:lnTo>
                  <a:pt x="2126053" y="2305050"/>
                </a:lnTo>
                <a:lnTo>
                  <a:pt x="276823" y="2305050"/>
                </a:lnTo>
                <a:lnTo>
                  <a:pt x="0" y="2305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B2D95A8-AF54-43F7-BAA5-8AB0E9309772}"/>
              </a:ext>
            </a:extLst>
          </p:cNvPr>
          <p:cNvSpPr/>
          <p:nvPr userDrawn="1"/>
        </p:nvSpPr>
        <p:spPr>
          <a:xfrm>
            <a:off x="1332058" y="504052"/>
            <a:ext cx="7811942" cy="4201298"/>
          </a:xfrm>
          <a:custGeom>
            <a:avLst/>
            <a:gdLst>
              <a:gd name="connsiteX0" fmla="*/ 2594638 w 7811942"/>
              <a:gd name="connsiteY0" fmla="*/ 0 h 4201298"/>
              <a:gd name="connsiteX1" fmla="*/ 7811942 w 7811942"/>
              <a:gd name="connsiteY1" fmla="*/ 0 h 4201298"/>
              <a:gd name="connsiteX2" fmla="*/ 7811942 w 7811942"/>
              <a:gd name="connsiteY2" fmla="*/ 4201298 h 4201298"/>
              <a:gd name="connsiteX3" fmla="*/ 0 w 7811942"/>
              <a:gd name="connsiteY3" fmla="*/ 4201298 h 420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1942" h="4201298">
                <a:moveTo>
                  <a:pt x="2594638" y="0"/>
                </a:moveTo>
                <a:lnTo>
                  <a:pt x="7811942" y="0"/>
                </a:lnTo>
                <a:lnTo>
                  <a:pt x="7811942" y="4201298"/>
                </a:lnTo>
                <a:lnTo>
                  <a:pt x="0" y="4201298"/>
                </a:lnTo>
                <a:close/>
              </a:path>
            </a:pathLst>
          </a:custGeom>
          <a:blipFill>
            <a:blip r:embed="rId2"/>
            <a:srcRect/>
            <a:stretch>
              <a:fillRect t="-2296" b="-229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8" name="Freeform 7"/>
          <p:cNvSpPr/>
          <p:nvPr userDrawn="1"/>
        </p:nvSpPr>
        <p:spPr>
          <a:xfrm>
            <a:off x="-1" y="0"/>
            <a:ext cx="6266949" cy="4114800"/>
          </a:xfrm>
          <a:custGeom>
            <a:avLst/>
            <a:gdLst>
              <a:gd name="connsiteX0" fmla="*/ 0 w 5880100"/>
              <a:gd name="connsiteY0" fmla="*/ 0 h 3860800"/>
              <a:gd name="connsiteX1" fmla="*/ 1054100 w 5880100"/>
              <a:gd name="connsiteY1" fmla="*/ 0 h 3860800"/>
              <a:gd name="connsiteX2" fmla="*/ 1659763 w 5880100"/>
              <a:gd name="connsiteY2" fmla="*/ 0 h 3860800"/>
              <a:gd name="connsiteX3" fmla="*/ 2713863 w 5880100"/>
              <a:gd name="connsiteY3" fmla="*/ 0 h 3860800"/>
              <a:gd name="connsiteX4" fmla="*/ 2874035 w 5880100"/>
              <a:gd name="connsiteY4" fmla="*/ 0 h 3860800"/>
              <a:gd name="connsiteX5" fmla="*/ 3928135 w 5880100"/>
              <a:gd name="connsiteY5" fmla="*/ 0 h 3860800"/>
              <a:gd name="connsiteX6" fmla="*/ 4826000 w 5880100"/>
              <a:gd name="connsiteY6" fmla="*/ 0 h 3860800"/>
              <a:gd name="connsiteX7" fmla="*/ 5880100 w 5880100"/>
              <a:gd name="connsiteY7" fmla="*/ 0 h 3860800"/>
              <a:gd name="connsiteX8" fmla="*/ 3298267 w 5880100"/>
              <a:gd name="connsiteY8" fmla="*/ 3860800 h 3860800"/>
              <a:gd name="connsiteX9" fmla="*/ 2244167 w 5880100"/>
              <a:gd name="connsiteY9" fmla="*/ 3860800 h 3860800"/>
              <a:gd name="connsiteX10" fmla="*/ 1346302 w 5880100"/>
              <a:gd name="connsiteY10" fmla="*/ 3860800 h 3860800"/>
              <a:gd name="connsiteX11" fmla="*/ 1054100 w 5880100"/>
              <a:gd name="connsiteY11" fmla="*/ 3860800 h 3860800"/>
              <a:gd name="connsiteX12" fmla="*/ 292202 w 5880100"/>
              <a:gd name="connsiteY12" fmla="*/ 3860800 h 3860800"/>
              <a:gd name="connsiteX13" fmla="*/ 0 w 5880100"/>
              <a:gd name="connsiteY13" fmla="*/ 38608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80100" h="3860800">
                <a:moveTo>
                  <a:pt x="0" y="0"/>
                </a:moveTo>
                <a:lnTo>
                  <a:pt x="1054100" y="0"/>
                </a:lnTo>
                <a:lnTo>
                  <a:pt x="1659763" y="0"/>
                </a:lnTo>
                <a:lnTo>
                  <a:pt x="2713863" y="0"/>
                </a:lnTo>
                <a:lnTo>
                  <a:pt x="2874035" y="0"/>
                </a:lnTo>
                <a:lnTo>
                  <a:pt x="3928135" y="0"/>
                </a:lnTo>
                <a:lnTo>
                  <a:pt x="4826000" y="0"/>
                </a:lnTo>
                <a:lnTo>
                  <a:pt x="5880100" y="0"/>
                </a:lnTo>
                <a:lnTo>
                  <a:pt x="3298267" y="3860800"/>
                </a:lnTo>
                <a:lnTo>
                  <a:pt x="2244167" y="3860800"/>
                </a:lnTo>
                <a:lnTo>
                  <a:pt x="1346302" y="3860800"/>
                </a:lnTo>
                <a:lnTo>
                  <a:pt x="1054100" y="3860800"/>
                </a:lnTo>
                <a:lnTo>
                  <a:pt x="292202" y="3860800"/>
                </a:lnTo>
                <a:lnTo>
                  <a:pt x="0" y="386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4685947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5024" y="74540"/>
            <a:ext cx="2496457" cy="26161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171450" indent="-171450">
              <a:buNone/>
              <a:defRPr lang="en-US" sz="1100" b="1" dirty="0" smtClean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025" y="1115395"/>
            <a:ext cx="4221490" cy="26161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2"/>
                </a:solidFill>
                <a:latin typeface="+mn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 flipH="1" flipV="1">
            <a:off x="8418658" y="3620694"/>
            <a:ext cx="725342" cy="1084656"/>
          </a:xfrm>
          <a:custGeom>
            <a:avLst/>
            <a:gdLst>
              <a:gd name="connsiteX0" fmla="*/ 0 w 725342"/>
              <a:gd name="connsiteY0" fmla="*/ 1084656 h 1084656"/>
              <a:gd name="connsiteX1" fmla="*/ 0 w 725342"/>
              <a:gd name="connsiteY1" fmla="*/ 0 h 1084656"/>
              <a:gd name="connsiteX2" fmla="*/ 725342 w 725342"/>
              <a:gd name="connsiteY2" fmla="*/ 0 h 108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5342" h="1084656">
                <a:moveTo>
                  <a:pt x="0" y="1084656"/>
                </a:moveTo>
                <a:lnTo>
                  <a:pt x="0" y="0"/>
                </a:lnTo>
                <a:lnTo>
                  <a:pt x="72534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247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A4A3A4"/>
          </p15:clr>
        </p15:guide>
        <p15:guide id="2" pos="5544">
          <p15:clr>
            <a:srgbClr val="A4A3A4"/>
          </p15:clr>
        </p15:guide>
        <p15:guide id="3" orient="horz" pos="2964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 flipH="1" flipV="1">
            <a:off x="993406" y="2248652"/>
            <a:ext cx="3908793" cy="2456698"/>
          </a:xfrm>
          <a:custGeom>
            <a:avLst/>
            <a:gdLst>
              <a:gd name="connsiteX0" fmla="*/ 0 w 3667509"/>
              <a:gd name="connsiteY0" fmla="*/ 0 h 2305050"/>
              <a:gd name="connsiteX1" fmla="*/ 3667509 w 3667509"/>
              <a:gd name="connsiteY1" fmla="*/ 0 h 2305050"/>
              <a:gd name="connsiteX2" fmla="*/ 2126053 w 3667509"/>
              <a:gd name="connsiteY2" fmla="*/ 2305050 h 2305050"/>
              <a:gd name="connsiteX3" fmla="*/ 276823 w 3667509"/>
              <a:gd name="connsiteY3" fmla="*/ 2305050 h 2305050"/>
              <a:gd name="connsiteX4" fmla="*/ 0 w 3667509"/>
              <a:gd name="connsiteY4" fmla="*/ 2305050 h 230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7509" h="2305050">
                <a:moveTo>
                  <a:pt x="0" y="0"/>
                </a:moveTo>
                <a:lnTo>
                  <a:pt x="3667509" y="0"/>
                </a:lnTo>
                <a:lnTo>
                  <a:pt x="2126053" y="2305050"/>
                </a:lnTo>
                <a:lnTo>
                  <a:pt x="276823" y="2305050"/>
                </a:lnTo>
                <a:lnTo>
                  <a:pt x="0" y="2305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1">
            <a:extLst>
              <a:ext uri="{FF2B5EF4-FFF2-40B4-BE49-F238E27FC236}">
                <a16:creationId xmlns:a16="http://schemas.microsoft.com/office/drawing/2014/main" id="{6123891B-B3D0-4BF3-BF0C-4B5B52BFB916}"/>
              </a:ext>
            </a:extLst>
          </p:cNvPr>
          <p:cNvSpPr/>
          <p:nvPr userDrawn="1"/>
        </p:nvSpPr>
        <p:spPr>
          <a:xfrm>
            <a:off x="1332058" y="504052"/>
            <a:ext cx="7811942" cy="4201298"/>
          </a:xfrm>
          <a:custGeom>
            <a:avLst/>
            <a:gdLst>
              <a:gd name="connsiteX0" fmla="*/ 2594638 w 7811942"/>
              <a:gd name="connsiteY0" fmla="*/ 0 h 4201298"/>
              <a:gd name="connsiteX1" fmla="*/ 7811942 w 7811942"/>
              <a:gd name="connsiteY1" fmla="*/ 0 h 4201298"/>
              <a:gd name="connsiteX2" fmla="*/ 7811942 w 7811942"/>
              <a:gd name="connsiteY2" fmla="*/ 4201298 h 4201298"/>
              <a:gd name="connsiteX3" fmla="*/ 0 w 7811942"/>
              <a:gd name="connsiteY3" fmla="*/ 4201298 h 420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1942" h="4201298">
                <a:moveTo>
                  <a:pt x="2594638" y="0"/>
                </a:moveTo>
                <a:lnTo>
                  <a:pt x="7811942" y="0"/>
                </a:lnTo>
                <a:lnTo>
                  <a:pt x="7811942" y="4201298"/>
                </a:lnTo>
                <a:lnTo>
                  <a:pt x="0" y="4201298"/>
                </a:lnTo>
                <a:close/>
              </a:path>
            </a:pathLst>
          </a:custGeom>
          <a:blipFill>
            <a:blip r:embed="rId2"/>
            <a:srcRect/>
            <a:stretch>
              <a:fillRect t="-12011" r="-14566" b="-3007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8" name="Freeform 7"/>
          <p:cNvSpPr/>
          <p:nvPr userDrawn="1"/>
        </p:nvSpPr>
        <p:spPr>
          <a:xfrm>
            <a:off x="-1" y="0"/>
            <a:ext cx="6266949" cy="4114800"/>
          </a:xfrm>
          <a:custGeom>
            <a:avLst/>
            <a:gdLst>
              <a:gd name="connsiteX0" fmla="*/ 0 w 5880100"/>
              <a:gd name="connsiteY0" fmla="*/ 0 h 3860800"/>
              <a:gd name="connsiteX1" fmla="*/ 1054100 w 5880100"/>
              <a:gd name="connsiteY1" fmla="*/ 0 h 3860800"/>
              <a:gd name="connsiteX2" fmla="*/ 1659763 w 5880100"/>
              <a:gd name="connsiteY2" fmla="*/ 0 h 3860800"/>
              <a:gd name="connsiteX3" fmla="*/ 2713863 w 5880100"/>
              <a:gd name="connsiteY3" fmla="*/ 0 h 3860800"/>
              <a:gd name="connsiteX4" fmla="*/ 2874035 w 5880100"/>
              <a:gd name="connsiteY4" fmla="*/ 0 h 3860800"/>
              <a:gd name="connsiteX5" fmla="*/ 3928135 w 5880100"/>
              <a:gd name="connsiteY5" fmla="*/ 0 h 3860800"/>
              <a:gd name="connsiteX6" fmla="*/ 4826000 w 5880100"/>
              <a:gd name="connsiteY6" fmla="*/ 0 h 3860800"/>
              <a:gd name="connsiteX7" fmla="*/ 5880100 w 5880100"/>
              <a:gd name="connsiteY7" fmla="*/ 0 h 3860800"/>
              <a:gd name="connsiteX8" fmla="*/ 3298267 w 5880100"/>
              <a:gd name="connsiteY8" fmla="*/ 3860800 h 3860800"/>
              <a:gd name="connsiteX9" fmla="*/ 2244167 w 5880100"/>
              <a:gd name="connsiteY9" fmla="*/ 3860800 h 3860800"/>
              <a:gd name="connsiteX10" fmla="*/ 1346302 w 5880100"/>
              <a:gd name="connsiteY10" fmla="*/ 3860800 h 3860800"/>
              <a:gd name="connsiteX11" fmla="*/ 1054100 w 5880100"/>
              <a:gd name="connsiteY11" fmla="*/ 3860800 h 3860800"/>
              <a:gd name="connsiteX12" fmla="*/ 292202 w 5880100"/>
              <a:gd name="connsiteY12" fmla="*/ 3860800 h 3860800"/>
              <a:gd name="connsiteX13" fmla="*/ 0 w 5880100"/>
              <a:gd name="connsiteY13" fmla="*/ 38608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80100" h="3860800">
                <a:moveTo>
                  <a:pt x="0" y="0"/>
                </a:moveTo>
                <a:lnTo>
                  <a:pt x="1054100" y="0"/>
                </a:lnTo>
                <a:lnTo>
                  <a:pt x="1659763" y="0"/>
                </a:lnTo>
                <a:lnTo>
                  <a:pt x="2713863" y="0"/>
                </a:lnTo>
                <a:lnTo>
                  <a:pt x="2874035" y="0"/>
                </a:lnTo>
                <a:lnTo>
                  <a:pt x="3928135" y="0"/>
                </a:lnTo>
                <a:lnTo>
                  <a:pt x="4826000" y="0"/>
                </a:lnTo>
                <a:lnTo>
                  <a:pt x="5880100" y="0"/>
                </a:lnTo>
                <a:lnTo>
                  <a:pt x="3298267" y="3860800"/>
                </a:lnTo>
                <a:lnTo>
                  <a:pt x="2244167" y="3860800"/>
                </a:lnTo>
                <a:lnTo>
                  <a:pt x="1346302" y="3860800"/>
                </a:lnTo>
                <a:lnTo>
                  <a:pt x="1054100" y="3860800"/>
                </a:lnTo>
                <a:lnTo>
                  <a:pt x="292202" y="3860800"/>
                </a:lnTo>
                <a:lnTo>
                  <a:pt x="0" y="386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4685947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5024" y="74540"/>
            <a:ext cx="2496457" cy="26161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171450" indent="-171450">
              <a:buNone/>
              <a:defRPr lang="en-US" sz="1100" b="1" dirty="0" smtClean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025" y="1115395"/>
            <a:ext cx="4221490" cy="26161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2"/>
                </a:solidFill>
                <a:latin typeface="+mn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 flipH="1" flipV="1">
            <a:off x="8418658" y="3620694"/>
            <a:ext cx="725342" cy="1084656"/>
          </a:xfrm>
          <a:custGeom>
            <a:avLst/>
            <a:gdLst>
              <a:gd name="connsiteX0" fmla="*/ 0 w 725342"/>
              <a:gd name="connsiteY0" fmla="*/ 1084656 h 1084656"/>
              <a:gd name="connsiteX1" fmla="*/ 0 w 725342"/>
              <a:gd name="connsiteY1" fmla="*/ 0 h 1084656"/>
              <a:gd name="connsiteX2" fmla="*/ 725342 w 725342"/>
              <a:gd name="connsiteY2" fmla="*/ 0 h 108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5342" h="1084656">
                <a:moveTo>
                  <a:pt x="0" y="1084656"/>
                </a:moveTo>
                <a:lnTo>
                  <a:pt x="0" y="0"/>
                </a:lnTo>
                <a:lnTo>
                  <a:pt x="72534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343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A4A3A4"/>
          </p15:clr>
        </p15:guide>
        <p15:guide id="2" pos="5544">
          <p15:clr>
            <a:srgbClr val="A4A3A4"/>
          </p15:clr>
        </p15:guide>
        <p15:guide id="3" orient="horz" pos="2964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 flipH="1" flipV="1">
            <a:off x="993406" y="2248652"/>
            <a:ext cx="3908793" cy="2456698"/>
          </a:xfrm>
          <a:custGeom>
            <a:avLst/>
            <a:gdLst>
              <a:gd name="connsiteX0" fmla="*/ 0 w 3667509"/>
              <a:gd name="connsiteY0" fmla="*/ 0 h 2305050"/>
              <a:gd name="connsiteX1" fmla="*/ 3667509 w 3667509"/>
              <a:gd name="connsiteY1" fmla="*/ 0 h 2305050"/>
              <a:gd name="connsiteX2" fmla="*/ 2126053 w 3667509"/>
              <a:gd name="connsiteY2" fmla="*/ 2305050 h 2305050"/>
              <a:gd name="connsiteX3" fmla="*/ 276823 w 3667509"/>
              <a:gd name="connsiteY3" fmla="*/ 2305050 h 2305050"/>
              <a:gd name="connsiteX4" fmla="*/ 0 w 3667509"/>
              <a:gd name="connsiteY4" fmla="*/ 2305050 h 230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7509" h="2305050">
                <a:moveTo>
                  <a:pt x="0" y="0"/>
                </a:moveTo>
                <a:lnTo>
                  <a:pt x="3667509" y="0"/>
                </a:lnTo>
                <a:lnTo>
                  <a:pt x="2126053" y="2305050"/>
                </a:lnTo>
                <a:lnTo>
                  <a:pt x="276823" y="2305050"/>
                </a:lnTo>
                <a:lnTo>
                  <a:pt x="0" y="2305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8">
            <a:extLst>
              <a:ext uri="{FF2B5EF4-FFF2-40B4-BE49-F238E27FC236}">
                <a16:creationId xmlns:a16="http://schemas.microsoft.com/office/drawing/2014/main" id="{00FB6A4B-2D03-4E89-9AD3-174DE7DDEF84}"/>
              </a:ext>
            </a:extLst>
          </p:cNvPr>
          <p:cNvSpPr/>
          <p:nvPr userDrawn="1"/>
        </p:nvSpPr>
        <p:spPr>
          <a:xfrm>
            <a:off x="1332058" y="504052"/>
            <a:ext cx="7811942" cy="4201298"/>
          </a:xfrm>
          <a:custGeom>
            <a:avLst/>
            <a:gdLst>
              <a:gd name="connsiteX0" fmla="*/ 2594638 w 7811942"/>
              <a:gd name="connsiteY0" fmla="*/ 0 h 4201298"/>
              <a:gd name="connsiteX1" fmla="*/ 7811942 w 7811942"/>
              <a:gd name="connsiteY1" fmla="*/ 0 h 4201298"/>
              <a:gd name="connsiteX2" fmla="*/ 7811942 w 7811942"/>
              <a:gd name="connsiteY2" fmla="*/ 4201298 h 4201298"/>
              <a:gd name="connsiteX3" fmla="*/ 0 w 7811942"/>
              <a:gd name="connsiteY3" fmla="*/ 4201298 h 420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1942" h="4201298">
                <a:moveTo>
                  <a:pt x="2594638" y="0"/>
                </a:moveTo>
                <a:lnTo>
                  <a:pt x="7811942" y="0"/>
                </a:lnTo>
                <a:lnTo>
                  <a:pt x="7811942" y="4201298"/>
                </a:lnTo>
                <a:lnTo>
                  <a:pt x="0" y="4201298"/>
                </a:lnTo>
                <a:close/>
              </a:path>
            </a:pathLst>
          </a:custGeom>
          <a:blipFill>
            <a:blip r:embed="rId2"/>
            <a:srcRect/>
            <a:stretch>
              <a:fillRect t="-20511" b="-2051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8" name="Freeform 7"/>
          <p:cNvSpPr/>
          <p:nvPr userDrawn="1"/>
        </p:nvSpPr>
        <p:spPr>
          <a:xfrm>
            <a:off x="-1" y="0"/>
            <a:ext cx="6266949" cy="4114800"/>
          </a:xfrm>
          <a:custGeom>
            <a:avLst/>
            <a:gdLst>
              <a:gd name="connsiteX0" fmla="*/ 0 w 5880100"/>
              <a:gd name="connsiteY0" fmla="*/ 0 h 3860800"/>
              <a:gd name="connsiteX1" fmla="*/ 1054100 w 5880100"/>
              <a:gd name="connsiteY1" fmla="*/ 0 h 3860800"/>
              <a:gd name="connsiteX2" fmla="*/ 1659763 w 5880100"/>
              <a:gd name="connsiteY2" fmla="*/ 0 h 3860800"/>
              <a:gd name="connsiteX3" fmla="*/ 2713863 w 5880100"/>
              <a:gd name="connsiteY3" fmla="*/ 0 h 3860800"/>
              <a:gd name="connsiteX4" fmla="*/ 2874035 w 5880100"/>
              <a:gd name="connsiteY4" fmla="*/ 0 h 3860800"/>
              <a:gd name="connsiteX5" fmla="*/ 3928135 w 5880100"/>
              <a:gd name="connsiteY5" fmla="*/ 0 h 3860800"/>
              <a:gd name="connsiteX6" fmla="*/ 4826000 w 5880100"/>
              <a:gd name="connsiteY6" fmla="*/ 0 h 3860800"/>
              <a:gd name="connsiteX7" fmla="*/ 5880100 w 5880100"/>
              <a:gd name="connsiteY7" fmla="*/ 0 h 3860800"/>
              <a:gd name="connsiteX8" fmla="*/ 3298267 w 5880100"/>
              <a:gd name="connsiteY8" fmla="*/ 3860800 h 3860800"/>
              <a:gd name="connsiteX9" fmla="*/ 2244167 w 5880100"/>
              <a:gd name="connsiteY9" fmla="*/ 3860800 h 3860800"/>
              <a:gd name="connsiteX10" fmla="*/ 1346302 w 5880100"/>
              <a:gd name="connsiteY10" fmla="*/ 3860800 h 3860800"/>
              <a:gd name="connsiteX11" fmla="*/ 1054100 w 5880100"/>
              <a:gd name="connsiteY11" fmla="*/ 3860800 h 3860800"/>
              <a:gd name="connsiteX12" fmla="*/ 292202 w 5880100"/>
              <a:gd name="connsiteY12" fmla="*/ 3860800 h 3860800"/>
              <a:gd name="connsiteX13" fmla="*/ 0 w 5880100"/>
              <a:gd name="connsiteY13" fmla="*/ 38608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80100" h="3860800">
                <a:moveTo>
                  <a:pt x="0" y="0"/>
                </a:moveTo>
                <a:lnTo>
                  <a:pt x="1054100" y="0"/>
                </a:lnTo>
                <a:lnTo>
                  <a:pt x="1659763" y="0"/>
                </a:lnTo>
                <a:lnTo>
                  <a:pt x="2713863" y="0"/>
                </a:lnTo>
                <a:lnTo>
                  <a:pt x="2874035" y="0"/>
                </a:lnTo>
                <a:lnTo>
                  <a:pt x="3928135" y="0"/>
                </a:lnTo>
                <a:lnTo>
                  <a:pt x="4826000" y="0"/>
                </a:lnTo>
                <a:lnTo>
                  <a:pt x="5880100" y="0"/>
                </a:lnTo>
                <a:lnTo>
                  <a:pt x="3298267" y="3860800"/>
                </a:lnTo>
                <a:lnTo>
                  <a:pt x="2244167" y="3860800"/>
                </a:lnTo>
                <a:lnTo>
                  <a:pt x="1346302" y="3860800"/>
                </a:lnTo>
                <a:lnTo>
                  <a:pt x="1054100" y="3860800"/>
                </a:lnTo>
                <a:lnTo>
                  <a:pt x="292202" y="3860800"/>
                </a:lnTo>
                <a:lnTo>
                  <a:pt x="0" y="386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4685947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5024" y="74540"/>
            <a:ext cx="2496457" cy="26161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171450" indent="-171450">
              <a:buNone/>
              <a:defRPr lang="en-US" sz="1100" b="1" dirty="0" smtClean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025" y="1115395"/>
            <a:ext cx="4221490" cy="26161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2"/>
                </a:solidFill>
                <a:latin typeface="+mn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 flipH="1" flipV="1">
            <a:off x="8418658" y="3620694"/>
            <a:ext cx="725342" cy="1084656"/>
          </a:xfrm>
          <a:custGeom>
            <a:avLst/>
            <a:gdLst>
              <a:gd name="connsiteX0" fmla="*/ 0 w 725342"/>
              <a:gd name="connsiteY0" fmla="*/ 1084656 h 1084656"/>
              <a:gd name="connsiteX1" fmla="*/ 0 w 725342"/>
              <a:gd name="connsiteY1" fmla="*/ 0 h 1084656"/>
              <a:gd name="connsiteX2" fmla="*/ 725342 w 725342"/>
              <a:gd name="connsiteY2" fmla="*/ 0 h 108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5342" h="1084656">
                <a:moveTo>
                  <a:pt x="0" y="1084656"/>
                </a:moveTo>
                <a:lnTo>
                  <a:pt x="0" y="0"/>
                </a:lnTo>
                <a:lnTo>
                  <a:pt x="72534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211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A4A3A4"/>
          </p15:clr>
        </p15:guide>
        <p15:guide id="2" pos="5544">
          <p15:clr>
            <a:srgbClr val="A4A3A4"/>
          </p15:clr>
        </p15:guide>
        <p15:guide id="3" orient="horz" pos="2964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 flipH="1" flipV="1">
            <a:off x="993406" y="2248652"/>
            <a:ext cx="3908793" cy="2456698"/>
          </a:xfrm>
          <a:custGeom>
            <a:avLst/>
            <a:gdLst>
              <a:gd name="connsiteX0" fmla="*/ 0 w 3667509"/>
              <a:gd name="connsiteY0" fmla="*/ 0 h 2305050"/>
              <a:gd name="connsiteX1" fmla="*/ 3667509 w 3667509"/>
              <a:gd name="connsiteY1" fmla="*/ 0 h 2305050"/>
              <a:gd name="connsiteX2" fmla="*/ 2126053 w 3667509"/>
              <a:gd name="connsiteY2" fmla="*/ 2305050 h 2305050"/>
              <a:gd name="connsiteX3" fmla="*/ 276823 w 3667509"/>
              <a:gd name="connsiteY3" fmla="*/ 2305050 h 2305050"/>
              <a:gd name="connsiteX4" fmla="*/ 0 w 3667509"/>
              <a:gd name="connsiteY4" fmla="*/ 2305050 h 230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7509" h="2305050">
                <a:moveTo>
                  <a:pt x="0" y="0"/>
                </a:moveTo>
                <a:lnTo>
                  <a:pt x="3667509" y="0"/>
                </a:lnTo>
                <a:lnTo>
                  <a:pt x="2126053" y="2305050"/>
                </a:lnTo>
                <a:lnTo>
                  <a:pt x="276823" y="2305050"/>
                </a:lnTo>
                <a:lnTo>
                  <a:pt x="0" y="2305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1">
            <a:extLst>
              <a:ext uri="{FF2B5EF4-FFF2-40B4-BE49-F238E27FC236}">
                <a16:creationId xmlns:a16="http://schemas.microsoft.com/office/drawing/2014/main" id="{B76BD2C2-C303-4F31-B0BD-C85CB81F244A}"/>
              </a:ext>
            </a:extLst>
          </p:cNvPr>
          <p:cNvSpPr/>
          <p:nvPr userDrawn="1"/>
        </p:nvSpPr>
        <p:spPr>
          <a:xfrm>
            <a:off x="1332058" y="504052"/>
            <a:ext cx="7811942" cy="4201298"/>
          </a:xfrm>
          <a:custGeom>
            <a:avLst/>
            <a:gdLst>
              <a:gd name="connsiteX0" fmla="*/ 2594638 w 7811942"/>
              <a:gd name="connsiteY0" fmla="*/ 0 h 4201298"/>
              <a:gd name="connsiteX1" fmla="*/ 7811942 w 7811942"/>
              <a:gd name="connsiteY1" fmla="*/ 0 h 4201298"/>
              <a:gd name="connsiteX2" fmla="*/ 7811942 w 7811942"/>
              <a:gd name="connsiteY2" fmla="*/ 4201298 h 4201298"/>
              <a:gd name="connsiteX3" fmla="*/ 0 w 7811942"/>
              <a:gd name="connsiteY3" fmla="*/ 4201298 h 420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1942" h="4201298">
                <a:moveTo>
                  <a:pt x="2594638" y="0"/>
                </a:moveTo>
                <a:lnTo>
                  <a:pt x="7811942" y="0"/>
                </a:lnTo>
                <a:lnTo>
                  <a:pt x="7811942" y="4201298"/>
                </a:lnTo>
                <a:lnTo>
                  <a:pt x="0" y="4201298"/>
                </a:lnTo>
                <a:close/>
              </a:path>
            </a:pathLst>
          </a:custGeom>
          <a:blipFill>
            <a:blip r:embed="rId2"/>
            <a:srcRect/>
            <a:stretch>
              <a:fillRect t="-281" b="-28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8" name="Freeform 7"/>
          <p:cNvSpPr/>
          <p:nvPr userDrawn="1"/>
        </p:nvSpPr>
        <p:spPr>
          <a:xfrm>
            <a:off x="-1" y="0"/>
            <a:ext cx="6266949" cy="4114800"/>
          </a:xfrm>
          <a:custGeom>
            <a:avLst/>
            <a:gdLst>
              <a:gd name="connsiteX0" fmla="*/ 0 w 5880100"/>
              <a:gd name="connsiteY0" fmla="*/ 0 h 3860800"/>
              <a:gd name="connsiteX1" fmla="*/ 1054100 w 5880100"/>
              <a:gd name="connsiteY1" fmla="*/ 0 h 3860800"/>
              <a:gd name="connsiteX2" fmla="*/ 1659763 w 5880100"/>
              <a:gd name="connsiteY2" fmla="*/ 0 h 3860800"/>
              <a:gd name="connsiteX3" fmla="*/ 2713863 w 5880100"/>
              <a:gd name="connsiteY3" fmla="*/ 0 h 3860800"/>
              <a:gd name="connsiteX4" fmla="*/ 2874035 w 5880100"/>
              <a:gd name="connsiteY4" fmla="*/ 0 h 3860800"/>
              <a:gd name="connsiteX5" fmla="*/ 3928135 w 5880100"/>
              <a:gd name="connsiteY5" fmla="*/ 0 h 3860800"/>
              <a:gd name="connsiteX6" fmla="*/ 4826000 w 5880100"/>
              <a:gd name="connsiteY6" fmla="*/ 0 h 3860800"/>
              <a:gd name="connsiteX7" fmla="*/ 5880100 w 5880100"/>
              <a:gd name="connsiteY7" fmla="*/ 0 h 3860800"/>
              <a:gd name="connsiteX8" fmla="*/ 3298267 w 5880100"/>
              <a:gd name="connsiteY8" fmla="*/ 3860800 h 3860800"/>
              <a:gd name="connsiteX9" fmla="*/ 2244167 w 5880100"/>
              <a:gd name="connsiteY9" fmla="*/ 3860800 h 3860800"/>
              <a:gd name="connsiteX10" fmla="*/ 1346302 w 5880100"/>
              <a:gd name="connsiteY10" fmla="*/ 3860800 h 3860800"/>
              <a:gd name="connsiteX11" fmla="*/ 1054100 w 5880100"/>
              <a:gd name="connsiteY11" fmla="*/ 3860800 h 3860800"/>
              <a:gd name="connsiteX12" fmla="*/ 292202 w 5880100"/>
              <a:gd name="connsiteY12" fmla="*/ 3860800 h 3860800"/>
              <a:gd name="connsiteX13" fmla="*/ 0 w 5880100"/>
              <a:gd name="connsiteY13" fmla="*/ 38608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80100" h="3860800">
                <a:moveTo>
                  <a:pt x="0" y="0"/>
                </a:moveTo>
                <a:lnTo>
                  <a:pt x="1054100" y="0"/>
                </a:lnTo>
                <a:lnTo>
                  <a:pt x="1659763" y="0"/>
                </a:lnTo>
                <a:lnTo>
                  <a:pt x="2713863" y="0"/>
                </a:lnTo>
                <a:lnTo>
                  <a:pt x="2874035" y="0"/>
                </a:lnTo>
                <a:lnTo>
                  <a:pt x="3928135" y="0"/>
                </a:lnTo>
                <a:lnTo>
                  <a:pt x="4826000" y="0"/>
                </a:lnTo>
                <a:lnTo>
                  <a:pt x="5880100" y="0"/>
                </a:lnTo>
                <a:lnTo>
                  <a:pt x="3298267" y="3860800"/>
                </a:lnTo>
                <a:lnTo>
                  <a:pt x="2244167" y="3860800"/>
                </a:lnTo>
                <a:lnTo>
                  <a:pt x="1346302" y="3860800"/>
                </a:lnTo>
                <a:lnTo>
                  <a:pt x="1054100" y="3860800"/>
                </a:lnTo>
                <a:lnTo>
                  <a:pt x="292202" y="3860800"/>
                </a:lnTo>
                <a:lnTo>
                  <a:pt x="0" y="386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4685947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5024" y="74540"/>
            <a:ext cx="2496457" cy="26161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171450" indent="-171450">
              <a:buNone/>
              <a:defRPr lang="en-US" sz="1100" b="1" dirty="0" smtClean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025" y="1115395"/>
            <a:ext cx="4221490" cy="26161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2"/>
                </a:solidFill>
                <a:latin typeface="+mn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 flipH="1" flipV="1">
            <a:off x="8418658" y="3620694"/>
            <a:ext cx="725342" cy="1084656"/>
          </a:xfrm>
          <a:custGeom>
            <a:avLst/>
            <a:gdLst>
              <a:gd name="connsiteX0" fmla="*/ 0 w 725342"/>
              <a:gd name="connsiteY0" fmla="*/ 1084656 h 1084656"/>
              <a:gd name="connsiteX1" fmla="*/ 0 w 725342"/>
              <a:gd name="connsiteY1" fmla="*/ 0 h 1084656"/>
              <a:gd name="connsiteX2" fmla="*/ 725342 w 725342"/>
              <a:gd name="connsiteY2" fmla="*/ 0 h 108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5342" h="1084656">
                <a:moveTo>
                  <a:pt x="0" y="1084656"/>
                </a:moveTo>
                <a:lnTo>
                  <a:pt x="0" y="0"/>
                </a:lnTo>
                <a:lnTo>
                  <a:pt x="72534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154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A4A3A4"/>
          </p15:clr>
        </p15:guide>
        <p15:guide id="2" pos="5544">
          <p15:clr>
            <a:srgbClr val="A4A3A4"/>
          </p15:clr>
        </p15:guide>
        <p15:guide id="3" orient="horz" pos="2964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 flipH="1" flipV="1">
            <a:off x="993406" y="2248652"/>
            <a:ext cx="3908793" cy="2456698"/>
          </a:xfrm>
          <a:custGeom>
            <a:avLst/>
            <a:gdLst>
              <a:gd name="connsiteX0" fmla="*/ 0 w 3667509"/>
              <a:gd name="connsiteY0" fmla="*/ 0 h 2305050"/>
              <a:gd name="connsiteX1" fmla="*/ 3667509 w 3667509"/>
              <a:gd name="connsiteY1" fmla="*/ 0 h 2305050"/>
              <a:gd name="connsiteX2" fmla="*/ 2126053 w 3667509"/>
              <a:gd name="connsiteY2" fmla="*/ 2305050 h 2305050"/>
              <a:gd name="connsiteX3" fmla="*/ 276823 w 3667509"/>
              <a:gd name="connsiteY3" fmla="*/ 2305050 h 2305050"/>
              <a:gd name="connsiteX4" fmla="*/ 0 w 3667509"/>
              <a:gd name="connsiteY4" fmla="*/ 2305050 h 230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7509" h="2305050">
                <a:moveTo>
                  <a:pt x="0" y="0"/>
                </a:moveTo>
                <a:lnTo>
                  <a:pt x="3667509" y="0"/>
                </a:lnTo>
                <a:lnTo>
                  <a:pt x="2126053" y="2305050"/>
                </a:lnTo>
                <a:lnTo>
                  <a:pt x="276823" y="2305050"/>
                </a:lnTo>
                <a:lnTo>
                  <a:pt x="0" y="2305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E8D2524-5933-496C-8BE7-DC2E77408996}"/>
              </a:ext>
            </a:extLst>
          </p:cNvPr>
          <p:cNvSpPr/>
          <p:nvPr userDrawn="1"/>
        </p:nvSpPr>
        <p:spPr>
          <a:xfrm>
            <a:off x="1332058" y="504052"/>
            <a:ext cx="7811942" cy="4201298"/>
          </a:xfrm>
          <a:custGeom>
            <a:avLst/>
            <a:gdLst>
              <a:gd name="connsiteX0" fmla="*/ 2594638 w 7811942"/>
              <a:gd name="connsiteY0" fmla="*/ 0 h 4201298"/>
              <a:gd name="connsiteX1" fmla="*/ 7811942 w 7811942"/>
              <a:gd name="connsiteY1" fmla="*/ 0 h 4201298"/>
              <a:gd name="connsiteX2" fmla="*/ 7811942 w 7811942"/>
              <a:gd name="connsiteY2" fmla="*/ 4201298 h 4201298"/>
              <a:gd name="connsiteX3" fmla="*/ 0 w 7811942"/>
              <a:gd name="connsiteY3" fmla="*/ 4201298 h 420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1942" h="4201298">
                <a:moveTo>
                  <a:pt x="2594638" y="0"/>
                </a:moveTo>
                <a:lnTo>
                  <a:pt x="7811942" y="0"/>
                </a:lnTo>
                <a:lnTo>
                  <a:pt x="7811942" y="4201298"/>
                </a:lnTo>
                <a:lnTo>
                  <a:pt x="0" y="4201298"/>
                </a:lnTo>
                <a:close/>
              </a:path>
            </a:pathLst>
          </a:custGeom>
          <a:blipFill>
            <a:blip r:embed="rId2"/>
            <a:srcRect/>
            <a:stretch>
              <a:fillRect t="-1366" b="-13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8" name="Freeform 7"/>
          <p:cNvSpPr/>
          <p:nvPr userDrawn="1"/>
        </p:nvSpPr>
        <p:spPr>
          <a:xfrm>
            <a:off x="-1" y="0"/>
            <a:ext cx="6266949" cy="4114800"/>
          </a:xfrm>
          <a:custGeom>
            <a:avLst/>
            <a:gdLst>
              <a:gd name="connsiteX0" fmla="*/ 0 w 5880100"/>
              <a:gd name="connsiteY0" fmla="*/ 0 h 3860800"/>
              <a:gd name="connsiteX1" fmla="*/ 1054100 w 5880100"/>
              <a:gd name="connsiteY1" fmla="*/ 0 h 3860800"/>
              <a:gd name="connsiteX2" fmla="*/ 1659763 w 5880100"/>
              <a:gd name="connsiteY2" fmla="*/ 0 h 3860800"/>
              <a:gd name="connsiteX3" fmla="*/ 2713863 w 5880100"/>
              <a:gd name="connsiteY3" fmla="*/ 0 h 3860800"/>
              <a:gd name="connsiteX4" fmla="*/ 2874035 w 5880100"/>
              <a:gd name="connsiteY4" fmla="*/ 0 h 3860800"/>
              <a:gd name="connsiteX5" fmla="*/ 3928135 w 5880100"/>
              <a:gd name="connsiteY5" fmla="*/ 0 h 3860800"/>
              <a:gd name="connsiteX6" fmla="*/ 4826000 w 5880100"/>
              <a:gd name="connsiteY6" fmla="*/ 0 h 3860800"/>
              <a:gd name="connsiteX7" fmla="*/ 5880100 w 5880100"/>
              <a:gd name="connsiteY7" fmla="*/ 0 h 3860800"/>
              <a:gd name="connsiteX8" fmla="*/ 3298267 w 5880100"/>
              <a:gd name="connsiteY8" fmla="*/ 3860800 h 3860800"/>
              <a:gd name="connsiteX9" fmla="*/ 2244167 w 5880100"/>
              <a:gd name="connsiteY9" fmla="*/ 3860800 h 3860800"/>
              <a:gd name="connsiteX10" fmla="*/ 1346302 w 5880100"/>
              <a:gd name="connsiteY10" fmla="*/ 3860800 h 3860800"/>
              <a:gd name="connsiteX11" fmla="*/ 1054100 w 5880100"/>
              <a:gd name="connsiteY11" fmla="*/ 3860800 h 3860800"/>
              <a:gd name="connsiteX12" fmla="*/ 292202 w 5880100"/>
              <a:gd name="connsiteY12" fmla="*/ 3860800 h 3860800"/>
              <a:gd name="connsiteX13" fmla="*/ 0 w 5880100"/>
              <a:gd name="connsiteY13" fmla="*/ 38608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80100" h="3860800">
                <a:moveTo>
                  <a:pt x="0" y="0"/>
                </a:moveTo>
                <a:lnTo>
                  <a:pt x="1054100" y="0"/>
                </a:lnTo>
                <a:lnTo>
                  <a:pt x="1659763" y="0"/>
                </a:lnTo>
                <a:lnTo>
                  <a:pt x="2713863" y="0"/>
                </a:lnTo>
                <a:lnTo>
                  <a:pt x="2874035" y="0"/>
                </a:lnTo>
                <a:lnTo>
                  <a:pt x="3928135" y="0"/>
                </a:lnTo>
                <a:lnTo>
                  <a:pt x="4826000" y="0"/>
                </a:lnTo>
                <a:lnTo>
                  <a:pt x="5880100" y="0"/>
                </a:lnTo>
                <a:lnTo>
                  <a:pt x="3298267" y="3860800"/>
                </a:lnTo>
                <a:lnTo>
                  <a:pt x="2244167" y="3860800"/>
                </a:lnTo>
                <a:lnTo>
                  <a:pt x="1346302" y="3860800"/>
                </a:lnTo>
                <a:lnTo>
                  <a:pt x="1054100" y="3860800"/>
                </a:lnTo>
                <a:lnTo>
                  <a:pt x="292202" y="3860800"/>
                </a:lnTo>
                <a:lnTo>
                  <a:pt x="0" y="386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4685947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5024" y="74540"/>
            <a:ext cx="2496457" cy="26161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171450" indent="-171450">
              <a:buNone/>
              <a:defRPr lang="en-US" sz="1100" b="1" dirty="0" smtClean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025" y="1115395"/>
            <a:ext cx="4221490" cy="26161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2"/>
                </a:solidFill>
                <a:latin typeface="+mn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 flipH="1" flipV="1">
            <a:off x="8418658" y="3620694"/>
            <a:ext cx="725342" cy="1084656"/>
          </a:xfrm>
          <a:custGeom>
            <a:avLst/>
            <a:gdLst>
              <a:gd name="connsiteX0" fmla="*/ 0 w 725342"/>
              <a:gd name="connsiteY0" fmla="*/ 1084656 h 1084656"/>
              <a:gd name="connsiteX1" fmla="*/ 0 w 725342"/>
              <a:gd name="connsiteY1" fmla="*/ 0 h 1084656"/>
              <a:gd name="connsiteX2" fmla="*/ 725342 w 725342"/>
              <a:gd name="connsiteY2" fmla="*/ 0 h 108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5342" h="1084656">
                <a:moveTo>
                  <a:pt x="0" y="1084656"/>
                </a:moveTo>
                <a:lnTo>
                  <a:pt x="0" y="0"/>
                </a:lnTo>
                <a:lnTo>
                  <a:pt x="72534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255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A4A3A4"/>
          </p15:clr>
        </p15:guide>
        <p15:guide id="2" pos="5544">
          <p15:clr>
            <a:srgbClr val="A4A3A4"/>
          </p15:clr>
        </p15:guide>
        <p15:guide id="3" orient="horz" pos="2964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 flipH="1" flipV="1">
            <a:off x="993406" y="2248652"/>
            <a:ext cx="3908793" cy="2456698"/>
          </a:xfrm>
          <a:custGeom>
            <a:avLst/>
            <a:gdLst>
              <a:gd name="connsiteX0" fmla="*/ 0 w 3667509"/>
              <a:gd name="connsiteY0" fmla="*/ 0 h 2305050"/>
              <a:gd name="connsiteX1" fmla="*/ 3667509 w 3667509"/>
              <a:gd name="connsiteY1" fmla="*/ 0 h 2305050"/>
              <a:gd name="connsiteX2" fmla="*/ 2126053 w 3667509"/>
              <a:gd name="connsiteY2" fmla="*/ 2305050 h 2305050"/>
              <a:gd name="connsiteX3" fmla="*/ 276823 w 3667509"/>
              <a:gd name="connsiteY3" fmla="*/ 2305050 h 2305050"/>
              <a:gd name="connsiteX4" fmla="*/ 0 w 3667509"/>
              <a:gd name="connsiteY4" fmla="*/ 2305050 h 230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7509" h="2305050">
                <a:moveTo>
                  <a:pt x="0" y="0"/>
                </a:moveTo>
                <a:lnTo>
                  <a:pt x="3667509" y="0"/>
                </a:lnTo>
                <a:lnTo>
                  <a:pt x="2126053" y="2305050"/>
                </a:lnTo>
                <a:lnTo>
                  <a:pt x="276823" y="2305050"/>
                </a:lnTo>
                <a:lnTo>
                  <a:pt x="0" y="2305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0">
            <a:extLst>
              <a:ext uri="{FF2B5EF4-FFF2-40B4-BE49-F238E27FC236}">
                <a16:creationId xmlns:a16="http://schemas.microsoft.com/office/drawing/2014/main" id="{4B78CC1F-406F-4DEB-85CD-1E7609C7CCB3}"/>
              </a:ext>
            </a:extLst>
          </p:cNvPr>
          <p:cNvSpPr/>
          <p:nvPr userDrawn="1"/>
        </p:nvSpPr>
        <p:spPr>
          <a:xfrm>
            <a:off x="1332058" y="504052"/>
            <a:ext cx="7811942" cy="4201298"/>
          </a:xfrm>
          <a:custGeom>
            <a:avLst/>
            <a:gdLst>
              <a:gd name="connsiteX0" fmla="*/ 2594638 w 7811942"/>
              <a:gd name="connsiteY0" fmla="*/ 0 h 4201298"/>
              <a:gd name="connsiteX1" fmla="*/ 7811942 w 7811942"/>
              <a:gd name="connsiteY1" fmla="*/ 0 h 4201298"/>
              <a:gd name="connsiteX2" fmla="*/ 7811942 w 7811942"/>
              <a:gd name="connsiteY2" fmla="*/ 4201298 h 4201298"/>
              <a:gd name="connsiteX3" fmla="*/ 0 w 7811942"/>
              <a:gd name="connsiteY3" fmla="*/ 4201298 h 420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1942" h="4201298">
                <a:moveTo>
                  <a:pt x="2594638" y="0"/>
                </a:moveTo>
                <a:lnTo>
                  <a:pt x="7811942" y="0"/>
                </a:lnTo>
                <a:lnTo>
                  <a:pt x="7811942" y="4201298"/>
                </a:lnTo>
                <a:lnTo>
                  <a:pt x="0" y="4201298"/>
                </a:lnTo>
                <a:close/>
              </a:path>
            </a:pathLst>
          </a:custGeom>
          <a:blipFill>
            <a:blip r:embed="rId2"/>
            <a:srcRect/>
            <a:stretch>
              <a:fillRect t="-5782" b="-578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8" name="Freeform 7"/>
          <p:cNvSpPr/>
          <p:nvPr userDrawn="1"/>
        </p:nvSpPr>
        <p:spPr>
          <a:xfrm>
            <a:off x="-1" y="0"/>
            <a:ext cx="6266949" cy="4114800"/>
          </a:xfrm>
          <a:custGeom>
            <a:avLst/>
            <a:gdLst>
              <a:gd name="connsiteX0" fmla="*/ 0 w 5880100"/>
              <a:gd name="connsiteY0" fmla="*/ 0 h 3860800"/>
              <a:gd name="connsiteX1" fmla="*/ 1054100 w 5880100"/>
              <a:gd name="connsiteY1" fmla="*/ 0 h 3860800"/>
              <a:gd name="connsiteX2" fmla="*/ 1659763 w 5880100"/>
              <a:gd name="connsiteY2" fmla="*/ 0 h 3860800"/>
              <a:gd name="connsiteX3" fmla="*/ 2713863 w 5880100"/>
              <a:gd name="connsiteY3" fmla="*/ 0 h 3860800"/>
              <a:gd name="connsiteX4" fmla="*/ 2874035 w 5880100"/>
              <a:gd name="connsiteY4" fmla="*/ 0 h 3860800"/>
              <a:gd name="connsiteX5" fmla="*/ 3928135 w 5880100"/>
              <a:gd name="connsiteY5" fmla="*/ 0 h 3860800"/>
              <a:gd name="connsiteX6" fmla="*/ 4826000 w 5880100"/>
              <a:gd name="connsiteY6" fmla="*/ 0 h 3860800"/>
              <a:gd name="connsiteX7" fmla="*/ 5880100 w 5880100"/>
              <a:gd name="connsiteY7" fmla="*/ 0 h 3860800"/>
              <a:gd name="connsiteX8" fmla="*/ 3298267 w 5880100"/>
              <a:gd name="connsiteY8" fmla="*/ 3860800 h 3860800"/>
              <a:gd name="connsiteX9" fmla="*/ 2244167 w 5880100"/>
              <a:gd name="connsiteY9" fmla="*/ 3860800 h 3860800"/>
              <a:gd name="connsiteX10" fmla="*/ 1346302 w 5880100"/>
              <a:gd name="connsiteY10" fmla="*/ 3860800 h 3860800"/>
              <a:gd name="connsiteX11" fmla="*/ 1054100 w 5880100"/>
              <a:gd name="connsiteY11" fmla="*/ 3860800 h 3860800"/>
              <a:gd name="connsiteX12" fmla="*/ 292202 w 5880100"/>
              <a:gd name="connsiteY12" fmla="*/ 3860800 h 3860800"/>
              <a:gd name="connsiteX13" fmla="*/ 0 w 5880100"/>
              <a:gd name="connsiteY13" fmla="*/ 386080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80100" h="3860800">
                <a:moveTo>
                  <a:pt x="0" y="0"/>
                </a:moveTo>
                <a:lnTo>
                  <a:pt x="1054100" y="0"/>
                </a:lnTo>
                <a:lnTo>
                  <a:pt x="1659763" y="0"/>
                </a:lnTo>
                <a:lnTo>
                  <a:pt x="2713863" y="0"/>
                </a:lnTo>
                <a:lnTo>
                  <a:pt x="2874035" y="0"/>
                </a:lnTo>
                <a:lnTo>
                  <a:pt x="3928135" y="0"/>
                </a:lnTo>
                <a:lnTo>
                  <a:pt x="4826000" y="0"/>
                </a:lnTo>
                <a:lnTo>
                  <a:pt x="5880100" y="0"/>
                </a:lnTo>
                <a:lnTo>
                  <a:pt x="3298267" y="3860800"/>
                </a:lnTo>
                <a:lnTo>
                  <a:pt x="2244167" y="3860800"/>
                </a:lnTo>
                <a:lnTo>
                  <a:pt x="1346302" y="3860800"/>
                </a:lnTo>
                <a:lnTo>
                  <a:pt x="1054100" y="3860800"/>
                </a:lnTo>
                <a:lnTo>
                  <a:pt x="292202" y="3860800"/>
                </a:lnTo>
                <a:lnTo>
                  <a:pt x="0" y="386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024" y="401793"/>
            <a:ext cx="4685947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arallelogram 35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5024" y="74540"/>
            <a:ext cx="2496457" cy="26161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171450" indent="-171450">
              <a:buNone/>
              <a:defRPr lang="en-US" sz="1100" b="1" dirty="0" smtClean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025" y="1115395"/>
            <a:ext cx="4221490" cy="26161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2"/>
                </a:solidFill>
                <a:latin typeface="+mn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 flipH="1" flipV="1">
            <a:off x="8418658" y="3620694"/>
            <a:ext cx="725342" cy="1084656"/>
          </a:xfrm>
          <a:custGeom>
            <a:avLst/>
            <a:gdLst>
              <a:gd name="connsiteX0" fmla="*/ 0 w 725342"/>
              <a:gd name="connsiteY0" fmla="*/ 1084656 h 1084656"/>
              <a:gd name="connsiteX1" fmla="*/ 0 w 725342"/>
              <a:gd name="connsiteY1" fmla="*/ 0 h 1084656"/>
              <a:gd name="connsiteX2" fmla="*/ 725342 w 725342"/>
              <a:gd name="connsiteY2" fmla="*/ 0 h 108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5342" h="1084656">
                <a:moveTo>
                  <a:pt x="0" y="1084656"/>
                </a:moveTo>
                <a:lnTo>
                  <a:pt x="0" y="0"/>
                </a:lnTo>
                <a:lnTo>
                  <a:pt x="72534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324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A4A3A4"/>
          </p15:clr>
        </p15:guide>
        <p15:guide id="2" pos="5544">
          <p15:clr>
            <a:srgbClr val="A4A3A4"/>
          </p15:clr>
        </p15:guide>
        <p15:guide id="3" orient="horz" pos="2964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3998" cy="5144709"/>
          </a:xfrm>
          <a:prstGeom prst="rect">
            <a:avLst/>
          </a:prstGeom>
        </p:spPr>
      </p:pic>
      <p:sp>
        <p:nvSpPr>
          <p:cNvPr id="26" name="Freeform 25"/>
          <p:cNvSpPr/>
          <p:nvPr userDrawn="1"/>
        </p:nvSpPr>
        <p:spPr>
          <a:xfrm>
            <a:off x="3149601" y="1613206"/>
            <a:ext cx="3806849" cy="3530295"/>
          </a:xfrm>
          <a:custGeom>
            <a:avLst/>
            <a:gdLst>
              <a:gd name="connsiteX0" fmla="*/ 2451578 w 3806849"/>
              <a:gd name="connsiteY0" fmla="*/ 0 h 3530295"/>
              <a:gd name="connsiteX1" fmla="*/ 2667478 w 3806849"/>
              <a:gd name="connsiteY1" fmla="*/ 0 h 3530295"/>
              <a:gd name="connsiteX2" fmla="*/ 215900 w 3806849"/>
              <a:gd name="connsiteY2" fmla="*/ 3530294 h 3530295"/>
              <a:gd name="connsiteX3" fmla="*/ 3806849 w 3806849"/>
              <a:gd name="connsiteY3" fmla="*/ 3530294 h 3530295"/>
              <a:gd name="connsiteX4" fmla="*/ 3806848 w 3806849"/>
              <a:gd name="connsiteY4" fmla="*/ 3530295 h 3530295"/>
              <a:gd name="connsiteX5" fmla="*/ 0 w 3806849"/>
              <a:gd name="connsiteY5" fmla="*/ 3530295 h 353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3530295">
                <a:moveTo>
                  <a:pt x="2451578" y="0"/>
                </a:moveTo>
                <a:lnTo>
                  <a:pt x="2667478" y="0"/>
                </a:lnTo>
                <a:lnTo>
                  <a:pt x="215900" y="3530294"/>
                </a:lnTo>
                <a:lnTo>
                  <a:pt x="3806849" y="3530294"/>
                </a:lnTo>
                <a:lnTo>
                  <a:pt x="3806848" y="3530295"/>
                </a:lnTo>
                <a:lnTo>
                  <a:pt x="0" y="35302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 userDrawn="1"/>
        </p:nvSpPr>
        <p:spPr>
          <a:xfrm>
            <a:off x="2883761" y="2871371"/>
            <a:ext cx="3806849" cy="2272130"/>
          </a:xfrm>
          <a:custGeom>
            <a:avLst/>
            <a:gdLst>
              <a:gd name="connsiteX0" fmla="*/ 1577858 w 3806849"/>
              <a:gd name="connsiteY0" fmla="*/ 0 h 2272130"/>
              <a:gd name="connsiteX1" fmla="*/ 2059598 w 3806849"/>
              <a:gd name="connsiteY1" fmla="*/ 0 h 2272130"/>
              <a:gd name="connsiteX2" fmla="*/ 481740 w 3806849"/>
              <a:gd name="connsiteY2" fmla="*/ 2272129 h 2272130"/>
              <a:gd name="connsiteX3" fmla="*/ 3806849 w 3806849"/>
              <a:gd name="connsiteY3" fmla="*/ 2272129 h 2272130"/>
              <a:gd name="connsiteX4" fmla="*/ 3806848 w 3806849"/>
              <a:gd name="connsiteY4" fmla="*/ 2272130 h 2272130"/>
              <a:gd name="connsiteX5" fmla="*/ 0 w 3806849"/>
              <a:gd name="connsiteY5" fmla="*/ 2272130 h 2272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2272130">
                <a:moveTo>
                  <a:pt x="1577858" y="0"/>
                </a:moveTo>
                <a:lnTo>
                  <a:pt x="2059598" y="0"/>
                </a:lnTo>
                <a:lnTo>
                  <a:pt x="481740" y="2272129"/>
                </a:lnTo>
                <a:lnTo>
                  <a:pt x="3806849" y="2272129"/>
                </a:lnTo>
                <a:lnTo>
                  <a:pt x="3806848" y="2272130"/>
                </a:lnTo>
                <a:lnTo>
                  <a:pt x="0" y="2272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149" y="1435396"/>
            <a:ext cx="2917372" cy="97462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ts val="3800"/>
              </a:lnSpc>
              <a:spcBef>
                <a:spcPts val="0"/>
              </a:spcBef>
              <a:buNone/>
              <a:defRPr sz="4400" b="1">
                <a:solidFill>
                  <a:schemeClr val="accent3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osing</a:t>
            </a:r>
          </a:p>
          <a:p>
            <a:pPr lvl="0"/>
            <a:r>
              <a:rPr lang="en-US" dirty="0"/>
              <a:t>Argumen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149" y="2583180"/>
            <a:ext cx="2917372" cy="761747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</a:t>
            </a:r>
            <a:endParaRPr lang="en-US" dirty="0"/>
          </a:p>
        </p:txBody>
      </p:sp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550863" y="3578236"/>
            <a:ext cx="947737" cy="133557"/>
            <a:chOff x="347" y="2254"/>
            <a:chExt cx="738" cy="104"/>
          </a:xfrm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767" y="2265"/>
              <a:ext cx="98" cy="82"/>
            </a:xfrm>
            <a:custGeom>
              <a:avLst/>
              <a:gdLst>
                <a:gd name="T0" fmla="*/ 0 w 132"/>
                <a:gd name="T1" fmla="*/ 95 h 107"/>
                <a:gd name="T2" fmla="*/ 42 w 132"/>
                <a:gd name="T3" fmla="*/ 107 h 107"/>
                <a:gd name="T4" fmla="*/ 118 w 132"/>
                <a:gd name="T5" fmla="*/ 26 h 107"/>
                <a:gd name="T6" fmla="*/ 132 w 132"/>
                <a:gd name="T7" fmla="*/ 12 h 107"/>
                <a:gd name="T8" fmla="*/ 116 w 132"/>
                <a:gd name="T9" fmla="*/ 17 h 107"/>
                <a:gd name="T10" fmla="*/ 128 w 132"/>
                <a:gd name="T11" fmla="*/ 2 h 107"/>
                <a:gd name="T12" fmla="*/ 111 w 132"/>
                <a:gd name="T13" fmla="*/ 8 h 107"/>
                <a:gd name="T14" fmla="*/ 91 w 132"/>
                <a:gd name="T15" fmla="*/ 0 h 107"/>
                <a:gd name="T16" fmla="*/ 64 w 132"/>
                <a:gd name="T17" fmla="*/ 27 h 107"/>
                <a:gd name="T18" fmla="*/ 65 w 132"/>
                <a:gd name="T19" fmla="*/ 33 h 107"/>
                <a:gd name="T20" fmla="*/ 9 w 132"/>
                <a:gd name="T21" fmla="*/ 5 h 107"/>
                <a:gd name="T22" fmla="*/ 18 w 132"/>
                <a:gd name="T23" fmla="*/ 41 h 107"/>
                <a:gd name="T24" fmla="*/ 5 w 132"/>
                <a:gd name="T25" fmla="*/ 37 h 107"/>
                <a:gd name="T26" fmla="*/ 27 w 132"/>
                <a:gd name="T27" fmla="*/ 64 h 107"/>
                <a:gd name="T28" fmla="*/ 15 w 132"/>
                <a:gd name="T29" fmla="*/ 65 h 107"/>
                <a:gd name="T30" fmla="*/ 40 w 132"/>
                <a:gd name="T31" fmla="*/ 84 h 107"/>
                <a:gd name="T32" fmla="*/ 0 w 132"/>
                <a:gd name="T33" fmla="*/ 9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107">
                  <a:moveTo>
                    <a:pt x="0" y="95"/>
                  </a:moveTo>
                  <a:cubicBezTo>
                    <a:pt x="12" y="103"/>
                    <a:pt x="27" y="107"/>
                    <a:pt x="42" y="107"/>
                  </a:cubicBezTo>
                  <a:cubicBezTo>
                    <a:pt x="92" y="107"/>
                    <a:pt x="120" y="65"/>
                    <a:pt x="118" y="26"/>
                  </a:cubicBezTo>
                  <a:cubicBezTo>
                    <a:pt x="124" y="23"/>
                    <a:pt x="128" y="18"/>
                    <a:pt x="132" y="12"/>
                  </a:cubicBezTo>
                  <a:cubicBezTo>
                    <a:pt x="127" y="15"/>
                    <a:pt x="122" y="16"/>
                    <a:pt x="116" y="17"/>
                  </a:cubicBezTo>
                  <a:cubicBezTo>
                    <a:pt x="122" y="13"/>
                    <a:pt x="126" y="8"/>
                    <a:pt x="128" y="2"/>
                  </a:cubicBezTo>
                  <a:cubicBezTo>
                    <a:pt x="123" y="5"/>
                    <a:pt x="117" y="7"/>
                    <a:pt x="111" y="8"/>
                  </a:cubicBezTo>
                  <a:cubicBezTo>
                    <a:pt x="106" y="3"/>
                    <a:pt x="99" y="0"/>
                    <a:pt x="91" y="0"/>
                  </a:cubicBezTo>
                  <a:cubicBezTo>
                    <a:pt x="76" y="0"/>
                    <a:pt x="64" y="12"/>
                    <a:pt x="64" y="27"/>
                  </a:cubicBezTo>
                  <a:cubicBezTo>
                    <a:pt x="64" y="29"/>
                    <a:pt x="65" y="31"/>
                    <a:pt x="65" y="33"/>
                  </a:cubicBezTo>
                  <a:cubicBezTo>
                    <a:pt x="43" y="32"/>
                    <a:pt x="23" y="22"/>
                    <a:pt x="9" y="5"/>
                  </a:cubicBezTo>
                  <a:cubicBezTo>
                    <a:pt x="2" y="17"/>
                    <a:pt x="6" y="33"/>
                    <a:pt x="18" y="41"/>
                  </a:cubicBezTo>
                  <a:cubicBezTo>
                    <a:pt x="13" y="41"/>
                    <a:pt x="9" y="40"/>
                    <a:pt x="5" y="37"/>
                  </a:cubicBezTo>
                  <a:cubicBezTo>
                    <a:pt x="5" y="50"/>
                    <a:pt x="14" y="62"/>
                    <a:pt x="27" y="64"/>
                  </a:cubicBezTo>
                  <a:cubicBezTo>
                    <a:pt x="23" y="65"/>
                    <a:pt x="19" y="66"/>
                    <a:pt x="15" y="65"/>
                  </a:cubicBezTo>
                  <a:cubicBezTo>
                    <a:pt x="18" y="76"/>
                    <a:pt x="29" y="83"/>
                    <a:pt x="40" y="84"/>
                  </a:cubicBezTo>
                  <a:cubicBezTo>
                    <a:pt x="29" y="92"/>
                    <a:pt x="14" y="97"/>
                    <a:pt x="0" y="95"/>
                  </a:cubicBez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347" y="2254"/>
              <a:ext cx="48" cy="104"/>
            </a:xfrm>
            <a:custGeom>
              <a:avLst/>
              <a:gdLst>
                <a:gd name="T0" fmla="*/ 15 w 64"/>
                <a:gd name="T1" fmla="*/ 137 h 137"/>
                <a:gd name="T2" fmla="*/ 42 w 64"/>
                <a:gd name="T3" fmla="*/ 137 h 137"/>
                <a:gd name="T4" fmla="*/ 42 w 64"/>
                <a:gd name="T5" fmla="*/ 68 h 137"/>
                <a:gd name="T6" fmla="*/ 61 w 64"/>
                <a:gd name="T7" fmla="*/ 68 h 137"/>
                <a:gd name="T8" fmla="*/ 64 w 64"/>
                <a:gd name="T9" fmla="*/ 45 h 137"/>
                <a:gd name="T10" fmla="*/ 42 w 64"/>
                <a:gd name="T11" fmla="*/ 45 h 137"/>
                <a:gd name="T12" fmla="*/ 42 w 64"/>
                <a:gd name="T13" fmla="*/ 31 h 137"/>
                <a:gd name="T14" fmla="*/ 49 w 64"/>
                <a:gd name="T15" fmla="*/ 24 h 137"/>
                <a:gd name="T16" fmla="*/ 64 w 64"/>
                <a:gd name="T17" fmla="*/ 24 h 137"/>
                <a:gd name="T18" fmla="*/ 64 w 64"/>
                <a:gd name="T19" fmla="*/ 0 h 137"/>
                <a:gd name="T20" fmla="*/ 44 w 64"/>
                <a:gd name="T21" fmla="*/ 0 h 137"/>
                <a:gd name="T22" fmla="*/ 15 w 64"/>
                <a:gd name="T23" fmla="*/ 26 h 137"/>
                <a:gd name="T24" fmla="*/ 15 w 64"/>
                <a:gd name="T25" fmla="*/ 45 h 137"/>
                <a:gd name="T26" fmla="*/ 0 w 64"/>
                <a:gd name="T27" fmla="*/ 45 h 137"/>
                <a:gd name="T28" fmla="*/ 0 w 64"/>
                <a:gd name="T29" fmla="*/ 68 h 137"/>
                <a:gd name="T30" fmla="*/ 15 w 64"/>
                <a:gd name="T31" fmla="*/ 68 h 137"/>
                <a:gd name="T32" fmla="*/ 15 w 64"/>
                <a:gd name="T3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137">
                  <a:moveTo>
                    <a:pt x="15" y="137"/>
                  </a:moveTo>
                  <a:cubicBezTo>
                    <a:pt x="42" y="137"/>
                    <a:pt x="42" y="137"/>
                    <a:pt x="42" y="137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61" y="68"/>
                    <a:pt x="61" y="68"/>
                    <a:pt x="61" y="68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26"/>
                    <a:pt x="43" y="24"/>
                    <a:pt x="49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24" y="0"/>
                    <a:pt x="15" y="9"/>
                    <a:pt x="15" y="26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15" y="68"/>
                    <a:pt x="15" y="68"/>
                    <a:pt x="15" y="68"/>
                  </a:cubicBezTo>
                  <a:lnTo>
                    <a:pt x="15" y="137"/>
                  </a:ln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 noEditPoints="1"/>
            </p:cNvSpPr>
            <p:nvPr userDrawn="1"/>
          </p:nvSpPr>
          <p:spPr bwMode="auto">
            <a:xfrm>
              <a:off x="543" y="2254"/>
              <a:ext cx="101" cy="103"/>
            </a:xfrm>
            <a:custGeom>
              <a:avLst/>
              <a:gdLst>
                <a:gd name="T0" fmla="*/ 68 w 136"/>
                <a:gd name="T1" fmla="*/ 12 h 135"/>
                <a:gd name="T2" fmla="*/ 95 w 136"/>
                <a:gd name="T3" fmla="*/ 12 h 135"/>
                <a:gd name="T4" fmla="*/ 108 w 136"/>
                <a:gd name="T5" fmla="*/ 15 h 135"/>
                <a:gd name="T6" fmla="*/ 116 w 136"/>
                <a:gd name="T7" fmla="*/ 20 h 135"/>
                <a:gd name="T8" fmla="*/ 121 w 136"/>
                <a:gd name="T9" fmla="*/ 27 h 135"/>
                <a:gd name="T10" fmla="*/ 123 w 136"/>
                <a:gd name="T11" fmla="*/ 40 h 135"/>
                <a:gd name="T12" fmla="*/ 124 w 136"/>
                <a:gd name="T13" fmla="*/ 67 h 135"/>
                <a:gd name="T14" fmla="*/ 123 w 136"/>
                <a:gd name="T15" fmla="*/ 95 h 135"/>
                <a:gd name="T16" fmla="*/ 121 w 136"/>
                <a:gd name="T17" fmla="*/ 107 h 135"/>
                <a:gd name="T18" fmla="*/ 116 w 136"/>
                <a:gd name="T19" fmla="*/ 115 h 135"/>
                <a:gd name="T20" fmla="*/ 108 w 136"/>
                <a:gd name="T21" fmla="*/ 120 h 135"/>
                <a:gd name="T22" fmla="*/ 95 w 136"/>
                <a:gd name="T23" fmla="*/ 123 h 135"/>
                <a:gd name="T24" fmla="*/ 68 w 136"/>
                <a:gd name="T25" fmla="*/ 123 h 135"/>
                <a:gd name="T26" fmla="*/ 41 w 136"/>
                <a:gd name="T27" fmla="*/ 123 h 135"/>
                <a:gd name="T28" fmla="*/ 28 w 136"/>
                <a:gd name="T29" fmla="*/ 120 h 135"/>
                <a:gd name="T30" fmla="*/ 20 w 136"/>
                <a:gd name="T31" fmla="*/ 115 h 135"/>
                <a:gd name="T32" fmla="*/ 15 w 136"/>
                <a:gd name="T33" fmla="*/ 107 h 135"/>
                <a:gd name="T34" fmla="*/ 13 w 136"/>
                <a:gd name="T35" fmla="*/ 95 h 135"/>
                <a:gd name="T36" fmla="*/ 12 w 136"/>
                <a:gd name="T37" fmla="*/ 67 h 135"/>
                <a:gd name="T38" fmla="*/ 13 w 136"/>
                <a:gd name="T39" fmla="*/ 40 h 135"/>
                <a:gd name="T40" fmla="*/ 15 w 136"/>
                <a:gd name="T41" fmla="*/ 27 h 135"/>
                <a:gd name="T42" fmla="*/ 20 w 136"/>
                <a:gd name="T43" fmla="*/ 20 h 135"/>
                <a:gd name="T44" fmla="*/ 28 w 136"/>
                <a:gd name="T45" fmla="*/ 15 h 135"/>
                <a:gd name="T46" fmla="*/ 41 w 136"/>
                <a:gd name="T47" fmla="*/ 12 h 135"/>
                <a:gd name="T48" fmla="*/ 68 w 136"/>
                <a:gd name="T49" fmla="*/ 12 h 135"/>
                <a:gd name="T50" fmla="*/ 68 w 136"/>
                <a:gd name="T51" fmla="*/ 0 h 135"/>
                <a:gd name="T52" fmla="*/ 40 w 136"/>
                <a:gd name="T53" fmla="*/ 0 h 135"/>
                <a:gd name="T54" fmla="*/ 24 w 136"/>
                <a:gd name="T55" fmla="*/ 3 h 135"/>
                <a:gd name="T56" fmla="*/ 12 w 136"/>
                <a:gd name="T57" fmla="*/ 11 h 135"/>
                <a:gd name="T58" fmla="*/ 4 w 136"/>
                <a:gd name="T59" fmla="*/ 23 h 135"/>
                <a:gd name="T60" fmla="*/ 1 w 136"/>
                <a:gd name="T61" fmla="*/ 39 h 135"/>
                <a:gd name="T62" fmla="*/ 0 w 136"/>
                <a:gd name="T63" fmla="*/ 67 h 135"/>
                <a:gd name="T64" fmla="*/ 1 w 136"/>
                <a:gd name="T65" fmla="*/ 95 h 135"/>
                <a:gd name="T66" fmla="*/ 4 w 136"/>
                <a:gd name="T67" fmla="*/ 112 h 135"/>
                <a:gd name="T68" fmla="*/ 12 w 136"/>
                <a:gd name="T69" fmla="*/ 124 h 135"/>
                <a:gd name="T70" fmla="*/ 24 w 136"/>
                <a:gd name="T71" fmla="*/ 132 h 135"/>
                <a:gd name="T72" fmla="*/ 40 w 136"/>
                <a:gd name="T73" fmla="*/ 135 h 135"/>
                <a:gd name="T74" fmla="*/ 68 w 136"/>
                <a:gd name="T75" fmla="*/ 135 h 135"/>
                <a:gd name="T76" fmla="*/ 96 w 136"/>
                <a:gd name="T77" fmla="*/ 135 h 135"/>
                <a:gd name="T78" fmla="*/ 112 w 136"/>
                <a:gd name="T79" fmla="*/ 132 h 135"/>
                <a:gd name="T80" fmla="*/ 124 w 136"/>
                <a:gd name="T81" fmla="*/ 124 h 135"/>
                <a:gd name="T82" fmla="*/ 132 w 136"/>
                <a:gd name="T83" fmla="*/ 112 h 135"/>
                <a:gd name="T84" fmla="*/ 135 w 136"/>
                <a:gd name="T85" fmla="*/ 95 h 135"/>
                <a:gd name="T86" fmla="*/ 136 w 136"/>
                <a:gd name="T87" fmla="*/ 67 h 135"/>
                <a:gd name="T88" fmla="*/ 135 w 136"/>
                <a:gd name="T89" fmla="*/ 39 h 135"/>
                <a:gd name="T90" fmla="*/ 132 w 136"/>
                <a:gd name="T91" fmla="*/ 23 h 135"/>
                <a:gd name="T92" fmla="*/ 124 w 136"/>
                <a:gd name="T93" fmla="*/ 11 h 135"/>
                <a:gd name="T94" fmla="*/ 112 w 136"/>
                <a:gd name="T95" fmla="*/ 3 h 135"/>
                <a:gd name="T96" fmla="*/ 96 w 136"/>
                <a:gd name="T97" fmla="*/ 0 h 135"/>
                <a:gd name="T98" fmla="*/ 68 w 136"/>
                <a:gd name="T99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6" h="135">
                  <a:moveTo>
                    <a:pt x="68" y="12"/>
                  </a:moveTo>
                  <a:cubicBezTo>
                    <a:pt x="86" y="12"/>
                    <a:pt x="88" y="12"/>
                    <a:pt x="95" y="12"/>
                  </a:cubicBezTo>
                  <a:cubicBezTo>
                    <a:pt x="100" y="12"/>
                    <a:pt x="104" y="13"/>
                    <a:pt x="108" y="15"/>
                  </a:cubicBezTo>
                  <a:cubicBezTo>
                    <a:pt x="111" y="16"/>
                    <a:pt x="114" y="17"/>
                    <a:pt x="116" y="20"/>
                  </a:cubicBezTo>
                  <a:cubicBezTo>
                    <a:pt x="118" y="22"/>
                    <a:pt x="120" y="24"/>
                    <a:pt x="121" y="27"/>
                  </a:cubicBezTo>
                  <a:cubicBezTo>
                    <a:pt x="122" y="31"/>
                    <a:pt x="123" y="36"/>
                    <a:pt x="123" y="40"/>
                  </a:cubicBezTo>
                  <a:cubicBezTo>
                    <a:pt x="124" y="47"/>
                    <a:pt x="124" y="49"/>
                    <a:pt x="124" y="67"/>
                  </a:cubicBezTo>
                  <a:cubicBezTo>
                    <a:pt x="124" y="85"/>
                    <a:pt x="124" y="88"/>
                    <a:pt x="123" y="95"/>
                  </a:cubicBezTo>
                  <a:cubicBezTo>
                    <a:pt x="123" y="99"/>
                    <a:pt x="122" y="103"/>
                    <a:pt x="121" y="107"/>
                  </a:cubicBezTo>
                  <a:cubicBezTo>
                    <a:pt x="120" y="110"/>
                    <a:pt x="118" y="113"/>
                    <a:pt x="116" y="115"/>
                  </a:cubicBezTo>
                  <a:cubicBezTo>
                    <a:pt x="114" y="117"/>
                    <a:pt x="111" y="119"/>
                    <a:pt x="108" y="120"/>
                  </a:cubicBezTo>
                  <a:cubicBezTo>
                    <a:pt x="104" y="122"/>
                    <a:pt x="100" y="123"/>
                    <a:pt x="95" y="123"/>
                  </a:cubicBezTo>
                  <a:cubicBezTo>
                    <a:pt x="88" y="123"/>
                    <a:pt x="86" y="123"/>
                    <a:pt x="68" y="123"/>
                  </a:cubicBezTo>
                  <a:cubicBezTo>
                    <a:pt x="50" y="123"/>
                    <a:pt x="48" y="123"/>
                    <a:pt x="41" y="123"/>
                  </a:cubicBezTo>
                  <a:cubicBezTo>
                    <a:pt x="36" y="123"/>
                    <a:pt x="32" y="122"/>
                    <a:pt x="28" y="120"/>
                  </a:cubicBezTo>
                  <a:cubicBezTo>
                    <a:pt x="25" y="119"/>
                    <a:pt x="22" y="117"/>
                    <a:pt x="20" y="115"/>
                  </a:cubicBezTo>
                  <a:cubicBezTo>
                    <a:pt x="18" y="113"/>
                    <a:pt x="16" y="110"/>
                    <a:pt x="15" y="107"/>
                  </a:cubicBezTo>
                  <a:cubicBezTo>
                    <a:pt x="14" y="103"/>
                    <a:pt x="13" y="99"/>
                    <a:pt x="13" y="95"/>
                  </a:cubicBezTo>
                  <a:cubicBezTo>
                    <a:pt x="12" y="88"/>
                    <a:pt x="12" y="86"/>
                    <a:pt x="12" y="67"/>
                  </a:cubicBezTo>
                  <a:cubicBezTo>
                    <a:pt x="12" y="49"/>
                    <a:pt x="12" y="47"/>
                    <a:pt x="13" y="40"/>
                  </a:cubicBezTo>
                  <a:cubicBezTo>
                    <a:pt x="13" y="36"/>
                    <a:pt x="14" y="31"/>
                    <a:pt x="15" y="27"/>
                  </a:cubicBezTo>
                  <a:cubicBezTo>
                    <a:pt x="16" y="24"/>
                    <a:pt x="18" y="22"/>
                    <a:pt x="20" y="20"/>
                  </a:cubicBezTo>
                  <a:cubicBezTo>
                    <a:pt x="22" y="17"/>
                    <a:pt x="25" y="16"/>
                    <a:pt x="28" y="15"/>
                  </a:cubicBezTo>
                  <a:cubicBezTo>
                    <a:pt x="32" y="13"/>
                    <a:pt x="36" y="12"/>
                    <a:pt x="41" y="12"/>
                  </a:cubicBezTo>
                  <a:cubicBezTo>
                    <a:pt x="48" y="12"/>
                    <a:pt x="50" y="12"/>
                    <a:pt x="68" y="12"/>
                  </a:cubicBezTo>
                  <a:moveTo>
                    <a:pt x="68" y="0"/>
                  </a:moveTo>
                  <a:cubicBezTo>
                    <a:pt x="50" y="0"/>
                    <a:pt x="47" y="0"/>
                    <a:pt x="40" y="0"/>
                  </a:cubicBezTo>
                  <a:cubicBezTo>
                    <a:pt x="34" y="0"/>
                    <a:pt x="29" y="1"/>
                    <a:pt x="24" y="3"/>
                  </a:cubicBezTo>
                  <a:cubicBezTo>
                    <a:pt x="19" y="5"/>
                    <a:pt x="15" y="7"/>
                    <a:pt x="12" y="11"/>
                  </a:cubicBezTo>
                  <a:cubicBezTo>
                    <a:pt x="8" y="14"/>
                    <a:pt x="5" y="18"/>
                    <a:pt x="4" y="23"/>
                  </a:cubicBezTo>
                  <a:cubicBezTo>
                    <a:pt x="2" y="28"/>
                    <a:pt x="1" y="34"/>
                    <a:pt x="1" y="39"/>
                  </a:cubicBezTo>
                  <a:cubicBezTo>
                    <a:pt x="0" y="47"/>
                    <a:pt x="0" y="49"/>
                    <a:pt x="0" y="67"/>
                  </a:cubicBezTo>
                  <a:cubicBezTo>
                    <a:pt x="0" y="86"/>
                    <a:pt x="0" y="88"/>
                    <a:pt x="1" y="95"/>
                  </a:cubicBezTo>
                  <a:cubicBezTo>
                    <a:pt x="1" y="101"/>
                    <a:pt x="2" y="107"/>
                    <a:pt x="4" y="112"/>
                  </a:cubicBezTo>
                  <a:cubicBezTo>
                    <a:pt x="5" y="116"/>
                    <a:pt x="8" y="120"/>
                    <a:pt x="12" y="124"/>
                  </a:cubicBezTo>
                  <a:cubicBezTo>
                    <a:pt x="15" y="127"/>
                    <a:pt x="19" y="130"/>
                    <a:pt x="24" y="132"/>
                  </a:cubicBezTo>
                  <a:cubicBezTo>
                    <a:pt x="29" y="134"/>
                    <a:pt x="34" y="135"/>
                    <a:pt x="40" y="135"/>
                  </a:cubicBezTo>
                  <a:cubicBezTo>
                    <a:pt x="47" y="135"/>
                    <a:pt x="50" y="135"/>
                    <a:pt x="68" y="135"/>
                  </a:cubicBezTo>
                  <a:cubicBezTo>
                    <a:pt x="86" y="135"/>
                    <a:pt x="89" y="135"/>
                    <a:pt x="96" y="135"/>
                  </a:cubicBezTo>
                  <a:cubicBezTo>
                    <a:pt x="102" y="135"/>
                    <a:pt x="107" y="134"/>
                    <a:pt x="112" y="132"/>
                  </a:cubicBezTo>
                  <a:cubicBezTo>
                    <a:pt x="117" y="130"/>
                    <a:pt x="121" y="127"/>
                    <a:pt x="124" y="124"/>
                  </a:cubicBezTo>
                  <a:cubicBezTo>
                    <a:pt x="128" y="120"/>
                    <a:pt x="131" y="116"/>
                    <a:pt x="132" y="112"/>
                  </a:cubicBezTo>
                  <a:cubicBezTo>
                    <a:pt x="134" y="107"/>
                    <a:pt x="135" y="101"/>
                    <a:pt x="135" y="95"/>
                  </a:cubicBezTo>
                  <a:cubicBezTo>
                    <a:pt x="136" y="88"/>
                    <a:pt x="136" y="86"/>
                    <a:pt x="136" y="67"/>
                  </a:cubicBezTo>
                  <a:cubicBezTo>
                    <a:pt x="136" y="49"/>
                    <a:pt x="136" y="47"/>
                    <a:pt x="135" y="39"/>
                  </a:cubicBezTo>
                  <a:cubicBezTo>
                    <a:pt x="135" y="34"/>
                    <a:pt x="134" y="28"/>
                    <a:pt x="132" y="23"/>
                  </a:cubicBezTo>
                  <a:cubicBezTo>
                    <a:pt x="131" y="18"/>
                    <a:pt x="128" y="14"/>
                    <a:pt x="124" y="11"/>
                  </a:cubicBezTo>
                  <a:cubicBezTo>
                    <a:pt x="121" y="7"/>
                    <a:pt x="117" y="5"/>
                    <a:pt x="112" y="3"/>
                  </a:cubicBezTo>
                  <a:cubicBezTo>
                    <a:pt x="107" y="1"/>
                    <a:pt x="102" y="0"/>
                    <a:pt x="96" y="0"/>
                  </a:cubicBezTo>
                  <a:cubicBezTo>
                    <a:pt x="89" y="0"/>
                    <a:pt x="86" y="0"/>
                    <a:pt x="68" y="0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567" y="2280"/>
              <a:ext cx="53" cy="52"/>
            </a:xfrm>
            <a:custGeom>
              <a:avLst/>
              <a:gdLst>
                <a:gd name="T0" fmla="*/ 35 w 70"/>
                <a:gd name="T1" fmla="*/ 0 h 69"/>
                <a:gd name="T2" fmla="*/ 0 w 70"/>
                <a:gd name="T3" fmla="*/ 34 h 69"/>
                <a:gd name="T4" fmla="*/ 0 w 70"/>
                <a:gd name="T5" fmla="*/ 34 h 69"/>
                <a:gd name="T6" fmla="*/ 35 w 70"/>
                <a:gd name="T7" fmla="*/ 69 h 69"/>
                <a:gd name="T8" fmla="*/ 35 w 70"/>
                <a:gd name="T9" fmla="*/ 69 h 69"/>
                <a:gd name="T10" fmla="*/ 70 w 70"/>
                <a:gd name="T11" fmla="*/ 34 h 69"/>
                <a:gd name="T12" fmla="*/ 35 w 70"/>
                <a:gd name="T13" fmla="*/ 0 h 69"/>
                <a:gd name="T14" fmla="*/ 35 w 70"/>
                <a:gd name="T15" fmla="*/ 0 h 69"/>
                <a:gd name="T16" fmla="*/ 35 w 70"/>
                <a:gd name="T17" fmla="*/ 57 h 69"/>
                <a:gd name="T18" fmla="*/ 12 w 70"/>
                <a:gd name="T19" fmla="*/ 34 h 69"/>
                <a:gd name="T20" fmla="*/ 35 w 70"/>
                <a:gd name="T21" fmla="*/ 12 h 69"/>
                <a:gd name="T22" fmla="*/ 35 w 70"/>
                <a:gd name="T23" fmla="*/ 12 h 69"/>
                <a:gd name="T24" fmla="*/ 58 w 70"/>
                <a:gd name="T25" fmla="*/ 34 h 69"/>
                <a:gd name="T26" fmla="*/ 35 w 70"/>
                <a:gd name="T27" fmla="*/ 5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69">
                  <a:moveTo>
                    <a:pt x="35" y="0"/>
                  </a:moveTo>
                  <a:cubicBezTo>
                    <a:pt x="16" y="0"/>
                    <a:pt x="0" y="15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54"/>
                    <a:pt x="16" y="69"/>
                    <a:pt x="35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54" y="69"/>
                    <a:pt x="70" y="54"/>
                    <a:pt x="70" y="34"/>
                  </a:cubicBezTo>
                  <a:cubicBezTo>
                    <a:pt x="70" y="15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moveTo>
                    <a:pt x="35" y="57"/>
                  </a:moveTo>
                  <a:cubicBezTo>
                    <a:pt x="22" y="57"/>
                    <a:pt x="12" y="47"/>
                    <a:pt x="12" y="34"/>
                  </a:cubicBezTo>
                  <a:cubicBezTo>
                    <a:pt x="12" y="22"/>
                    <a:pt x="22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47" y="12"/>
                    <a:pt x="58" y="22"/>
                    <a:pt x="58" y="34"/>
                  </a:cubicBezTo>
                  <a:cubicBezTo>
                    <a:pt x="58" y="47"/>
                    <a:pt x="47" y="57"/>
                    <a:pt x="35" y="57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614" y="2272"/>
              <a:ext cx="12" cy="12"/>
            </a:xfrm>
            <a:custGeom>
              <a:avLst/>
              <a:gdLst>
                <a:gd name="T0" fmla="*/ 16 w 16"/>
                <a:gd name="T1" fmla="*/ 8 h 16"/>
                <a:gd name="T2" fmla="*/ 8 w 16"/>
                <a:gd name="T3" fmla="*/ 16 h 16"/>
                <a:gd name="T4" fmla="*/ 8 w 16"/>
                <a:gd name="T5" fmla="*/ 16 h 16"/>
                <a:gd name="T6" fmla="*/ 0 w 16"/>
                <a:gd name="T7" fmla="*/ 8 h 16"/>
                <a:gd name="T8" fmla="*/ 8 w 16"/>
                <a:gd name="T9" fmla="*/ 0 h 16"/>
                <a:gd name="T10" fmla="*/ 16 w 16"/>
                <a:gd name="T11" fmla="*/ 8 h 16"/>
                <a:gd name="T12" fmla="*/ 16 w 16"/>
                <a:gd name="T13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6" y="8"/>
                  </a:moveTo>
                  <a:cubicBezTo>
                    <a:pt x="16" y="13"/>
                    <a:pt x="13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4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994" y="2290"/>
              <a:ext cx="19" cy="63"/>
            </a:xfrm>
            <a:prstGeom prst="rect">
              <a:avLst/>
            </a:pr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992" y="2258"/>
              <a:ext cx="23" cy="24"/>
            </a:xfrm>
            <a:custGeom>
              <a:avLst/>
              <a:gdLst>
                <a:gd name="T0" fmla="*/ 15 w 30"/>
                <a:gd name="T1" fmla="*/ 31 h 31"/>
                <a:gd name="T2" fmla="*/ 30 w 30"/>
                <a:gd name="T3" fmla="*/ 16 h 31"/>
                <a:gd name="T4" fmla="*/ 30 w 30"/>
                <a:gd name="T5" fmla="*/ 16 h 31"/>
                <a:gd name="T6" fmla="*/ 15 w 30"/>
                <a:gd name="T7" fmla="*/ 0 h 31"/>
                <a:gd name="T8" fmla="*/ 15 w 30"/>
                <a:gd name="T9" fmla="*/ 0 h 31"/>
                <a:gd name="T10" fmla="*/ 0 w 30"/>
                <a:gd name="T11" fmla="*/ 16 h 31"/>
                <a:gd name="T12" fmla="*/ 0 w 30"/>
                <a:gd name="T13" fmla="*/ 16 h 31"/>
                <a:gd name="T14" fmla="*/ 15 w 30"/>
                <a:gd name="T15" fmla="*/ 31 h 31"/>
                <a:gd name="T16" fmla="*/ 15 w 30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24" y="31"/>
                    <a:pt x="30" y="24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7"/>
                    <a:pt x="24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7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025" y="2288"/>
              <a:ext cx="60" cy="65"/>
            </a:xfrm>
            <a:custGeom>
              <a:avLst/>
              <a:gdLst>
                <a:gd name="T0" fmla="*/ 25 w 80"/>
                <a:gd name="T1" fmla="*/ 42 h 85"/>
                <a:gd name="T2" fmla="*/ 41 w 80"/>
                <a:gd name="T3" fmla="*/ 23 h 85"/>
                <a:gd name="T4" fmla="*/ 55 w 80"/>
                <a:gd name="T5" fmla="*/ 42 h 85"/>
                <a:gd name="T6" fmla="*/ 55 w 80"/>
                <a:gd name="T7" fmla="*/ 85 h 85"/>
                <a:gd name="T8" fmla="*/ 80 w 80"/>
                <a:gd name="T9" fmla="*/ 85 h 85"/>
                <a:gd name="T10" fmla="*/ 80 w 80"/>
                <a:gd name="T11" fmla="*/ 33 h 85"/>
                <a:gd name="T12" fmla="*/ 50 w 80"/>
                <a:gd name="T13" fmla="*/ 0 h 85"/>
                <a:gd name="T14" fmla="*/ 25 w 80"/>
                <a:gd name="T15" fmla="*/ 14 h 85"/>
                <a:gd name="T16" fmla="*/ 25 w 80"/>
                <a:gd name="T17" fmla="*/ 3 h 85"/>
                <a:gd name="T18" fmla="*/ 0 w 80"/>
                <a:gd name="T19" fmla="*/ 3 h 85"/>
                <a:gd name="T20" fmla="*/ 0 w 80"/>
                <a:gd name="T21" fmla="*/ 85 h 85"/>
                <a:gd name="T22" fmla="*/ 25 w 80"/>
                <a:gd name="T23" fmla="*/ 85 h 85"/>
                <a:gd name="T24" fmla="*/ 25 w 80"/>
                <a:gd name="T25" fmla="*/ 4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85">
                  <a:moveTo>
                    <a:pt x="25" y="42"/>
                  </a:moveTo>
                  <a:cubicBezTo>
                    <a:pt x="25" y="30"/>
                    <a:pt x="30" y="23"/>
                    <a:pt x="41" y="23"/>
                  </a:cubicBezTo>
                  <a:cubicBezTo>
                    <a:pt x="50" y="23"/>
                    <a:pt x="55" y="30"/>
                    <a:pt x="55" y="42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80" y="33"/>
                    <a:pt x="80" y="33"/>
                    <a:pt x="80" y="33"/>
                  </a:cubicBezTo>
                  <a:cubicBezTo>
                    <a:pt x="80" y="11"/>
                    <a:pt x="68" y="0"/>
                    <a:pt x="50" y="0"/>
                  </a:cubicBezTo>
                  <a:cubicBezTo>
                    <a:pt x="40" y="0"/>
                    <a:pt x="30" y="5"/>
                    <a:pt x="25" y="14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25" y="85"/>
                    <a:pt x="25" y="85"/>
                    <a:pt x="25" y="85"/>
                  </a:cubicBezTo>
                  <a:lnTo>
                    <a:pt x="25" y="42"/>
                  </a:ln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0699F7A-8C09-4A48-9B66-827A532FCD18}"/>
              </a:ext>
            </a:extLst>
          </p:cNvPr>
          <p:cNvSpPr/>
          <p:nvPr userDrawn="1"/>
        </p:nvSpPr>
        <p:spPr>
          <a:xfrm>
            <a:off x="3550920" y="-1"/>
            <a:ext cx="5593078" cy="5142291"/>
          </a:xfrm>
          <a:custGeom>
            <a:avLst/>
            <a:gdLst>
              <a:gd name="connsiteX0" fmla="*/ 3513470 w 5593078"/>
              <a:gd name="connsiteY0" fmla="*/ 0 h 5142291"/>
              <a:gd name="connsiteX1" fmla="*/ 5593078 w 5593078"/>
              <a:gd name="connsiteY1" fmla="*/ 0 h 5142291"/>
              <a:gd name="connsiteX2" fmla="*/ 5593078 w 5593078"/>
              <a:gd name="connsiteY2" fmla="*/ 1424535 h 5142291"/>
              <a:gd name="connsiteX3" fmla="*/ 3052921 w 5593078"/>
              <a:gd name="connsiteY3" fmla="*/ 5142291 h 5142291"/>
              <a:gd name="connsiteX4" fmla="*/ 0 w 5593078"/>
              <a:gd name="connsiteY4" fmla="*/ 5142291 h 514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3078" h="5142291">
                <a:moveTo>
                  <a:pt x="3513470" y="0"/>
                </a:moveTo>
                <a:lnTo>
                  <a:pt x="5593078" y="0"/>
                </a:lnTo>
                <a:lnTo>
                  <a:pt x="5593078" y="1424535"/>
                </a:lnTo>
                <a:lnTo>
                  <a:pt x="3052921" y="5142291"/>
                </a:lnTo>
                <a:lnTo>
                  <a:pt x="0" y="5142291"/>
                </a:lnTo>
                <a:close/>
              </a:path>
            </a:pathLst>
          </a:custGeom>
          <a:blipFill>
            <a:blip r:embed="rId4"/>
            <a:srcRect/>
            <a:stretch>
              <a:fillRect l="-18921" r="-1892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0341922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3998" cy="5144709"/>
          </a:xfrm>
          <a:prstGeom prst="rect">
            <a:avLst/>
          </a:prstGeom>
        </p:spPr>
      </p:pic>
      <p:sp>
        <p:nvSpPr>
          <p:cNvPr id="26" name="Freeform 25"/>
          <p:cNvSpPr/>
          <p:nvPr userDrawn="1"/>
        </p:nvSpPr>
        <p:spPr>
          <a:xfrm>
            <a:off x="3149601" y="1613206"/>
            <a:ext cx="3806849" cy="3530295"/>
          </a:xfrm>
          <a:custGeom>
            <a:avLst/>
            <a:gdLst>
              <a:gd name="connsiteX0" fmla="*/ 2451578 w 3806849"/>
              <a:gd name="connsiteY0" fmla="*/ 0 h 3530295"/>
              <a:gd name="connsiteX1" fmla="*/ 2667478 w 3806849"/>
              <a:gd name="connsiteY1" fmla="*/ 0 h 3530295"/>
              <a:gd name="connsiteX2" fmla="*/ 215900 w 3806849"/>
              <a:gd name="connsiteY2" fmla="*/ 3530294 h 3530295"/>
              <a:gd name="connsiteX3" fmla="*/ 3806849 w 3806849"/>
              <a:gd name="connsiteY3" fmla="*/ 3530294 h 3530295"/>
              <a:gd name="connsiteX4" fmla="*/ 3806848 w 3806849"/>
              <a:gd name="connsiteY4" fmla="*/ 3530295 h 3530295"/>
              <a:gd name="connsiteX5" fmla="*/ 0 w 3806849"/>
              <a:gd name="connsiteY5" fmla="*/ 3530295 h 353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3530295">
                <a:moveTo>
                  <a:pt x="2451578" y="0"/>
                </a:moveTo>
                <a:lnTo>
                  <a:pt x="2667478" y="0"/>
                </a:lnTo>
                <a:lnTo>
                  <a:pt x="215900" y="3530294"/>
                </a:lnTo>
                <a:lnTo>
                  <a:pt x="3806849" y="3530294"/>
                </a:lnTo>
                <a:lnTo>
                  <a:pt x="3806848" y="3530295"/>
                </a:lnTo>
                <a:lnTo>
                  <a:pt x="0" y="35302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 userDrawn="1"/>
        </p:nvSpPr>
        <p:spPr>
          <a:xfrm>
            <a:off x="2883761" y="2871371"/>
            <a:ext cx="3806849" cy="2272130"/>
          </a:xfrm>
          <a:custGeom>
            <a:avLst/>
            <a:gdLst>
              <a:gd name="connsiteX0" fmla="*/ 1577858 w 3806849"/>
              <a:gd name="connsiteY0" fmla="*/ 0 h 2272130"/>
              <a:gd name="connsiteX1" fmla="*/ 2059598 w 3806849"/>
              <a:gd name="connsiteY1" fmla="*/ 0 h 2272130"/>
              <a:gd name="connsiteX2" fmla="*/ 481740 w 3806849"/>
              <a:gd name="connsiteY2" fmla="*/ 2272129 h 2272130"/>
              <a:gd name="connsiteX3" fmla="*/ 3806849 w 3806849"/>
              <a:gd name="connsiteY3" fmla="*/ 2272129 h 2272130"/>
              <a:gd name="connsiteX4" fmla="*/ 3806848 w 3806849"/>
              <a:gd name="connsiteY4" fmla="*/ 2272130 h 2272130"/>
              <a:gd name="connsiteX5" fmla="*/ 0 w 3806849"/>
              <a:gd name="connsiteY5" fmla="*/ 2272130 h 2272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2272130">
                <a:moveTo>
                  <a:pt x="1577858" y="0"/>
                </a:moveTo>
                <a:lnTo>
                  <a:pt x="2059598" y="0"/>
                </a:lnTo>
                <a:lnTo>
                  <a:pt x="481740" y="2272129"/>
                </a:lnTo>
                <a:lnTo>
                  <a:pt x="3806849" y="2272129"/>
                </a:lnTo>
                <a:lnTo>
                  <a:pt x="3806848" y="2272130"/>
                </a:lnTo>
                <a:lnTo>
                  <a:pt x="0" y="2272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149" y="1435396"/>
            <a:ext cx="2917372" cy="97462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ts val="3800"/>
              </a:lnSpc>
              <a:spcBef>
                <a:spcPts val="0"/>
              </a:spcBef>
              <a:buNone/>
              <a:defRPr sz="4400" b="1">
                <a:solidFill>
                  <a:schemeClr val="accent3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osing</a:t>
            </a:r>
          </a:p>
          <a:p>
            <a:pPr lvl="0"/>
            <a:r>
              <a:rPr lang="en-US" dirty="0"/>
              <a:t>Argumen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149" y="2583180"/>
            <a:ext cx="2917372" cy="761747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</a:t>
            </a:r>
            <a:endParaRPr lang="en-US" dirty="0"/>
          </a:p>
        </p:txBody>
      </p:sp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550863" y="3578236"/>
            <a:ext cx="947737" cy="133557"/>
            <a:chOff x="347" y="2254"/>
            <a:chExt cx="738" cy="104"/>
          </a:xfrm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767" y="2265"/>
              <a:ext cx="98" cy="82"/>
            </a:xfrm>
            <a:custGeom>
              <a:avLst/>
              <a:gdLst>
                <a:gd name="T0" fmla="*/ 0 w 132"/>
                <a:gd name="T1" fmla="*/ 95 h 107"/>
                <a:gd name="T2" fmla="*/ 42 w 132"/>
                <a:gd name="T3" fmla="*/ 107 h 107"/>
                <a:gd name="T4" fmla="*/ 118 w 132"/>
                <a:gd name="T5" fmla="*/ 26 h 107"/>
                <a:gd name="T6" fmla="*/ 132 w 132"/>
                <a:gd name="T7" fmla="*/ 12 h 107"/>
                <a:gd name="T8" fmla="*/ 116 w 132"/>
                <a:gd name="T9" fmla="*/ 17 h 107"/>
                <a:gd name="T10" fmla="*/ 128 w 132"/>
                <a:gd name="T11" fmla="*/ 2 h 107"/>
                <a:gd name="T12" fmla="*/ 111 w 132"/>
                <a:gd name="T13" fmla="*/ 8 h 107"/>
                <a:gd name="T14" fmla="*/ 91 w 132"/>
                <a:gd name="T15" fmla="*/ 0 h 107"/>
                <a:gd name="T16" fmla="*/ 64 w 132"/>
                <a:gd name="T17" fmla="*/ 27 h 107"/>
                <a:gd name="T18" fmla="*/ 65 w 132"/>
                <a:gd name="T19" fmla="*/ 33 h 107"/>
                <a:gd name="T20" fmla="*/ 9 w 132"/>
                <a:gd name="T21" fmla="*/ 5 h 107"/>
                <a:gd name="T22" fmla="*/ 18 w 132"/>
                <a:gd name="T23" fmla="*/ 41 h 107"/>
                <a:gd name="T24" fmla="*/ 5 w 132"/>
                <a:gd name="T25" fmla="*/ 37 h 107"/>
                <a:gd name="T26" fmla="*/ 27 w 132"/>
                <a:gd name="T27" fmla="*/ 64 h 107"/>
                <a:gd name="T28" fmla="*/ 15 w 132"/>
                <a:gd name="T29" fmla="*/ 65 h 107"/>
                <a:gd name="T30" fmla="*/ 40 w 132"/>
                <a:gd name="T31" fmla="*/ 84 h 107"/>
                <a:gd name="T32" fmla="*/ 0 w 132"/>
                <a:gd name="T33" fmla="*/ 9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107">
                  <a:moveTo>
                    <a:pt x="0" y="95"/>
                  </a:moveTo>
                  <a:cubicBezTo>
                    <a:pt x="12" y="103"/>
                    <a:pt x="27" y="107"/>
                    <a:pt x="42" y="107"/>
                  </a:cubicBezTo>
                  <a:cubicBezTo>
                    <a:pt x="92" y="107"/>
                    <a:pt x="120" y="65"/>
                    <a:pt x="118" y="26"/>
                  </a:cubicBezTo>
                  <a:cubicBezTo>
                    <a:pt x="124" y="23"/>
                    <a:pt x="128" y="18"/>
                    <a:pt x="132" y="12"/>
                  </a:cubicBezTo>
                  <a:cubicBezTo>
                    <a:pt x="127" y="15"/>
                    <a:pt x="122" y="16"/>
                    <a:pt x="116" y="17"/>
                  </a:cubicBezTo>
                  <a:cubicBezTo>
                    <a:pt x="122" y="13"/>
                    <a:pt x="126" y="8"/>
                    <a:pt x="128" y="2"/>
                  </a:cubicBezTo>
                  <a:cubicBezTo>
                    <a:pt x="123" y="5"/>
                    <a:pt x="117" y="7"/>
                    <a:pt x="111" y="8"/>
                  </a:cubicBezTo>
                  <a:cubicBezTo>
                    <a:pt x="106" y="3"/>
                    <a:pt x="99" y="0"/>
                    <a:pt x="91" y="0"/>
                  </a:cubicBezTo>
                  <a:cubicBezTo>
                    <a:pt x="76" y="0"/>
                    <a:pt x="64" y="12"/>
                    <a:pt x="64" y="27"/>
                  </a:cubicBezTo>
                  <a:cubicBezTo>
                    <a:pt x="64" y="29"/>
                    <a:pt x="65" y="31"/>
                    <a:pt x="65" y="33"/>
                  </a:cubicBezTo>
                  <a:cubicBezTo>
                    <a:pt x="43" y="32"/>
                    <a:pt x="23" y="22"/>
                    <a:pt x="9" y="5"/>
                  </a:cubicBezTo>
                  <a:cubicBezTo>
                    <a:pt x="2" y="17"/>
                    <a:pt x="6" y="33"/>
                    <a:pt x="18" y="41"/>
                  </a:cubicBezTo>
                  <a:cubicBezTo>
                    <a:pt x="13" y="41"/>
                    <a:pt x="9" y="40"/>
                    <a:pt x="5" y="37"/>
                  </a:cubicBezTo>
                  <a:cubicBezTo>
                    <a:pt x="5" y="50"/>
                    <a:pt x="14" y="62"/>
                    <a:pt x="27" y="64"/>
                  </a:cubicBezTo>
                  <a:cubicBezTo>
                    <a:pt x="23" y="65"/>
                    <a:pt x="19" y="66"/>
                    <a:pt x="15" y="65"/>
                  </a:cubicBezTo>
                  <a:cubicBezTo>
                    <a:pt x="18" y="76"/>
                    <a:pt x="29" y="83"/>
                    <a:pt x="40" y="84"/>
                  </a:cubicBezTo>
                  <a:cubicBezTo>
                    <a:pt x="29" y="92"/>
                    <a:pt x="14" y="97"/>
                    <a:pt x="0" y="95"/>
                  </a:cubicBez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347" y="2254"/>
              <a:ext cx="48" cy="104"/>
            </a:xfrm>
            <a:custGeom>
              <a:avLst/>
              <a:gdLst>
                <a:gd name="T0" fmla="*/ 15 w 64"/>
                <a:gd name="T1" fmla="*/ 137 h 137"/>
                <a:gd name="T2" fmla="*/ 42 w 64"/>
                <a:gd name="T3" fmla="*/ 137 h 137"/>
                <a:gd name="T4" fmla="*/ 42 w 64"/>
                <a:gd name="T5" fmla="*/ 68 h 137"/>
                <a:gd name="T6" fmla="*/ 61 w 64"/>
                <a:gd name="T7" fmla="*/ 68 h 137"/>
                <a:gd name="T8" fmla="*/ 64 w 64"/>
                <a:gd name="T9" fmla="*/ 45 h 137"/>
                <a:gd name="T10" fmla="*/ 42 w 64"/>
                <a:gd name="T11" fmla="*/ 45 h 137"/>
                <a:gd name="T12" fmla="*/ 42 w 64"/>
                <a:gd name="T13" fmla="*/ 31 h 137"/>
                <a:gd name="T14" fmla="*/ 49 w 64"/>
                <a:gd name="T15" fmla="*/ 24 h 137"/>
                <a:gd name="T16" fmla="*/ 64 w 64"/>
                <a:gd name="T17" fmla="*/ 24 h 137"/>
                <a:gd name="T18" fmla="*/ 64 w 64"/>
                <a:gd name="T19" fmla="*/ 0 h 137"/>
                <a:gd name="T20" fmla="*/ 44 w 64"/>
                <a:gd name="T21" fmla="*/ 0 h 137"/>
                <a:gd name="T22" fmla="*/ 15 w 64"/>
                <a:gd name="T23" fmla="*/ 26 h 137"/>
                <a:gd name="T24" fmla="*/ 15 w 64"/>
                <a:gd name="T25" fmla="*/ 45 h 137"/>
                <a:gd name="T26" fmla="*/ 0 w 64"/>
                <a:gd name="T27" fmla="*/ 45 h 137"/>
                <a:gd name="T28" fmla="*/ 0 w 64"/>
                <a:gd name="T29" fmla="*/ 68 h 137"/>
                <a:gd name="T30" fmla="*/ 15 w 64"/>
                <a:gd name="T31" fmla="*/ 68 h 137"/>
                <a:gd name="T32" fmla="*/ 15 w 64"/>
                <a:gd name="T3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137">
                  <a:moveTo>
                    <a:pt x="15" y="137"/>
                  </a:moveTo>
                  <a:cubicBezTo>
                    <a:pt x="42" y="137"/>
                    <a:pt x="42" y="137"/>
                    <a:pt x="42" y="137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61" y="68"/>
                    <a:pt x="61" y="68"/>
                    <a:pt x="61" y="68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26"/>
                    <a:pt x="43" y="24"/>
                    <a:pt x="49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24" y="0"/>
                    <a:pt x="15" y="9"/>
                    <a:pt x="15" y="26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15" y="68"/>
                    <a:pt x="15" y="68"/>
                    <a:pt x="15" y="68"/>
                  </a:cubicBezTo>
                  <a:lnTo>
                    <a:pt x="15" y="137"/>
                  </a:ln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 noEditPoints="1"/>
            </p:cNvSpPr>
            <p:nvPr userDrawn="1"/>
          </p:nvSpPr>
          <p:spPr bwMode="auto">
            <a:xfrm>
              <a:off x="543" y="2254"/>
              <a:ext cx="101" cy="103"/>
            </a:xfrm>
            <a:custGeom>
              <a:avLst/>
              <a:gdLst>
                <a:gd name="T0" fmla="*/ 68 w 136"/>
                <a:gd name="T1" fmla="*/ 12 h 135"/>
                <a:gd name="T2" fmla="*/ 95 w 136"/>
                <a:gd name="T3" fmla="*/ 12 h 135"/>
                <a:gd name="T4" fmla="*/ 108 w 136"/>
                <a:gd name="T5" fmla="*/ 15 h 135"/>
                <a:gd name="T6" fmla="*/ 116 w 136"/>
                <a:gd name="T7" fmla="*/ 20 h 135"/>
                <a:gd name="T8" fmla="*/ 121 w 136"/>
                <a:gd name="T9" fmla="*/ 27 h 135"/>
                <a:gd name="T10" fmla="*/ 123 w 136"/>
                <a:gd name="T11" fmla="*/ 40 h 135"/>
                <a:gd name="T12" fmla="*/ 124 w 136"/>
                <a:gd name="T13" fmla="*/ 67 h 135"/>
                <a:gd name="T14" fmla="*/ 123 w 136"/>
                <a:gd name="T15" fmla="*/ 95 h 135"/>
                <a:gd name="T16" fmla="*/ 121 w 136"/>
                <a:gd name="T17" fmla="*/ 107 h 135"/>
                <a:gd name="T18" fmla="*/ 116 w 136"/>
                <a:gd name="T19" fmla="*/ 115 h 135"/>
                <a:gd name="T20" fmla="*/ 108 w 136"/>
                <a:gd name="T21" fmla="*/ 120 h 135"/>
                <a:gd name="T22" fmla="*/ 95 w 136"/>
                <a:gd name="T23" fmla="*/ 123 h 135"/>
                <a:gd name="T24" fmla="*/ 68 w 136"/>
                <a:gd name="T25" fmla="*/ 123 h 135"/>
                <a:gd name="T26" fmla="*/ 41 w 136"/>
                <a:gd name="T27" fmla="*/ 123 h 135"/>
                <a:gd name="T28" fmla="*/ 28 w 136"/>
                <a:gd name="T29" fmla="*/ 120 h 135"/>
                <a:gd name="T30" fmla="*/ 20 w 136"/>
                <a:gd name="T31" fmla="*/ 115 h 135"/>
                <a:gd name="T32" fmla="*/ 15 w 136"/>
                <a:gd name="T33" fmla="*/ 107 h 135"/>
                <a:gd name="T34" fmla="*/ 13 w 136"/>
                <a:gd name="T35" fmla="*/ 95 h 135"/>
                <a:gd name="T36" fmla="*/ 12 w 136"/>
                <a:gd name="T37" fmla="*/ 67 h 135"/>
                <a:gd name="T38" fmla="*/ 13 w 136"/>
                <a:gd name="T39" fmla="*/ 40 h 135"/>
                <a:gd name="T40" fmla="*/ 15 w 136"/>
                <a:gd name="T41" fmla="*/ 27 h 135"/>
                <a:gd name="T42" fmla="*/ 20 w 136"/>
                <a:gd name="T43" fmla="*/ 20 h 135"/>
                <a:gd name="T44" fmla="*/ 28 w 136"/>
                <a:gd name="T45" fmla="*/ 15 h 135"/>
                <a:gd name="T46" fmla="*/ 41 w 136"/>
                <a:gd name="T47" fmla="*/ 12 h 135"/>
                <a:gd name="T48" fmla="*/ 68 w 136"/>
                <a:gd name="T49" fmla="*/ 12 h 135"/>
                <a:gd name="T50" fmla="*/ 68 w 136"/>
                <a:gd name="T51" fmla="*/ 0 h 135"/>
                <a:gd name="T52" fmla="*/ 40 w 136"/>
                <a:gd name="T53" fmla="*/ 0 h 135"/>
                <a:gd name="T54" fmla="*/ 24 w 136"/>
                <a:gd name="T55" fmla="*/ 3 h 135"/>
                <a:gd name="T56" fmla="*/ 12 w 136"/>
                <a:gd name="T57" fmla="*/ 11 h 135"/>
                <a:gd name="T58" fmla="*/ 4 w 136"/>
                <a:gd name="T59" fmla="*/ 23 h 135"/>
                <a:gd name="T60" fmla="*/ 1 w 136"/>
                <a:gd name="T61" fmla="*/ 39 h 135"/>
                <a:gd name="T62" fmla="*/ 0 w 136"/>
                <a:gd name="T63" fmla="*/ 67 h 135"/>
                <a:gd name="T64" fmla="*/ 1 w 136"/>
                <a:gd name="T65" fmla="*/ 95 h 135"/>
                <a:gd name="T66" fmla="*/ 4 w 136"/>
                <a:gd name="T67" fmla="*/ 112 h 135"/>
                <a:gd name="T68" fmla="*/ 12 w 136"/>
                <a:gd name="T69" fmla="*/ 124 h 135"/>
                <a:gd name="T70" fmla="*/ 24 w 136"/>
                <a:gd name="T71" fmla="*/ 132 h 135"/>
                <a:gd name="T72" fmla="*/ 40 w 136"/>
                <a:gd name="T73" fmla="*/ 135 h 135"/>
                <a:gd name="T74" fmla="*/ 68 w 136"/>
                <a:gd name="T75" fmla="*/ 135 h 135"/>
                <a:gd name="T76" fmla="*/ 96 w 136"/>
                <a:gd name="T77" fmla="*/ 135 h 135"/>
                <a:gd name="T78" fmla="*/ 112 w 136"/>
                <a:gd name="T79" fmla="*/ 132 h 135"/>
                <a:gd name="T80" fmla="*/ 124 w 136"/>
                <a:gd name="T81" fmla="*/ 124 h 135"/>
                <a:gd name="T82" fmla="*/ 132 w 136"/>
                <a:gd name="T83" fmla="*/ 112 h 135"/>
                <a:gd name="T84" fmla="*/ 135 w 136"/>
                <a:gd name="T85" fmla="*/ 95 h 135"/>
                <a:gd name="T86" fmla="*/ 136 w 136"/>
                <a:gd name="T87" fmla="*/ 67 h 135"/>
                <a:gd name="T88" fmla="*/ 135 w 136"/>
                <a:gd name="T89" fmla="*/ 39 h 135"/>
                <a:gd name="T90" fmla="*/ 132 w 136"/>
                <a:gd name="T91" fmla="*/ 23 h 135"/>
                <a:gd name="T92" fmla="*/ 124 w 136"/>
                <a:gd name="T93" fmla="*/ 11 h 135"/>
                <a:gd name="T94" fmla="*/ 112 w 136"/>
                <a:gd name="T95" fmla="*/ 3 h 135"/>
                <a:gd name="T96" fmla="*/ 96 w 136"/>
                <a:gd name="T97" fmla="*/ 0 h 135"/>
                <a:gd name="T98" fmla="*/ 68 w 136"/>
                <a:gd name="T99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6" h="135">
                  <a:moveTo>
                    <a:pt x="68" y="12"/>
                  </a:moveTo>
                  <a:cubicBezTo>
                    <a:pt x="86" y="12"/>
                    <a:pt x="88" y="12"/>
                    <a:pt x="95" y="12"/>
                  </a:cubicBezTo>
                  <a:cubicBezTo>
                    <a:pt x="100" y="12"/>
                    <a:pt x="104" y="13"/>
                    <a:pt x="108" y="15"/>
                  </a:cubicBezTo>
                  <a:cubicBezTo>
                    <a:pt x="111" y="16"/>
                    <a:pt x="114" y="17"/>
                    <a:pt x="116" y="20"/>
                  </a:cubicBezTo>
                  <a:cubicBezTo>
                    <a:pt x="118" y="22"/>
                    <a:pt x="120" y="24"/>
                    <a:pt x="121" y="27"/>
                  </a:cubicBezTo>
                  <a:cubicBezTo>
                    <a:pt x="122" y="31"/>
                    <a:pt x="123" y="36"/>
                    <a:pt x="123" y="40"/>
                  </a:cubicBezTo>
                  <a:cubicBezTo>
                    <a:pt x="124" y="47"/>
                    <a:pt x="124" y="49"/>
                    <a:pt x="124" y="67"/>
                  </a:cubicBezTo>
                  <a:cubicBezTo>
                    <a:pt x="124" y="85"/>
                    <a:pt x="124" y="88"/>
                    <a:pt x="123" y="95"/>
                  </a:cubicBezTo>
                  <a:cubicBezTo>
                    <a:pt x="123" y="99"/>
                    <a:pt x="122" y="103"/>
                    <a:pt x="121" y="107"/>
                  </a:cubicBezTo>
                  <a:cubicBezTo>
                    <a:pt x="120" y="110"/>
                    <a:pt x="118" y="113"/>
                    <a:pt x="116" y="115"/>
                  </a:cubicBezTo>
                  <a:cubicBezTo>
                    <a:pt x="114" y="117"/>
                    <a:pt x="111" y="119"/>
                    <a:pt x="108" y="120"/>
                  </a:cubicBezTo>
                  <a:cubicBezTo>
                    <a:pt x="104" y="122"/>
                    <a:pt x="100" y="123"/>
                    <a:pt x="95" y="123"/>
                  </a:cubicBezTo>
                  <a:cubicBezTo>
                    <a:pt x="88" y="123"/>
                    <a:pt x="86" y="123"/>
                    <a:pt x="68" y="123"/>
                  </a:cubicBezTo>
                  <a:cubicBezTo>
                    <a:pt x="50" y="123"/>
                    <a:pt x="48" y="123"/>
                    <a:pt x="41" y="123"/>
                  </a:cubicBezTo>
                  <a:cubicBezTo>
                    <a:pt x="36" y="123"/>
                    <a:pt x="32" y="122"/>
                    <a:pt x="28" y="120"/>
                  </a:cubicBezTo>
                  <a:cubicBezTo>
                    <a:pt x="25" y="119"/>
                    <a:pt x="22" y="117"/>
                    <a:pt x="20" y="115"/>
                  </a:cubicBezTo>
                  <a:cubicBezTo>
                    <a:pt x="18" y="113"/>
                    <a:pt x="16" y="110"/>
                    <a:pt x="15" y="107"/>
                  </a:cubicBezTo>
                  <a:cubicBezTo>
                    <a:pt x="14" y="103"/>
                    <a:pt x="13" y="99"/>
                    <a:pt x="13" y="95"/>
                  </a:cubicBezTo>
                  <a:cubicBezTo>
                    <a:pt x="12" y="88"/>
                    <a:pt x="12" y="86"/>
                    <a:pt x="12" y="67"/>
                  </a:cubicBezTo>
                  <a:cubicBezTo>
                    <a:pt x="12" y="49"/>
                    <a:pt x="12" y="47"/>
                    <a:pt x="13" y="40"/>
                  </a:cubicBezTo>
                  <a:cubicBezTo>
                    <a:pt x="13" y="36"/>
                    <a:pt x="14" y="31"/>
                    <a:pt x="15" y="27"/>
                  </a:cubicBezTo>
                  <a:cubicBezTo>
                    <a:pt x="16" y="24"/>
                    <a:pt x="18" y="22"/>
                    <a:pt x="20" y="20"/>
                  </a:cubicBezTo>
                  <a:cubicBezTo>
                    <a:pt x="22" y="17"/>
                    <a:pt x="25" y="16"/>
                    <a:pt x="28" y="15"/>
                  </a:cubicBezTo>
                  <a:cubicBezTo>
                    <a:pt x="32" y="13"/>
                    <a:pt x="36" y="12"/>
                    <a:pt x="41" y="12"/>
                  </a:cubicBezTo>
                  <a:cubicBezTo>
                    <a:pt x="48" y="12"/>
                    <a:pt x="50" y="12"/>
                    <a:pt x="68" y="12"/>
                  </a:cubicBezTo>
                  <a:moveTo>
                    <a:pt x="68" y="0"/>
                  </a:moveTo>
                  <a:cubicBezTo>
                    <a:pt x="50" y="0"/>
                    <a:pt x="47" y="0"/>
                    <a:pt x="40" y="0"/>
                  </a:cubicBezTo>
                  <a:cubicBezTo>
                    <a:pt x="34" y="0"/>
                    <a:pt x="29" y="1"/>
                    <a:pt x="24" y="3"/>
                  </a:cubicBezTo>
                  <a:cubicBezTo>
                    <a:pt x="19" y="5"/>
                    <a:pt x="15" y="7"/>
                    <a:pt x="12" y="11"/>
                  </a:cubicBezTo>
                  <a:cubicBezTo>
                    <a:pt x="8" y="14"/>
                    <a:pt x="5" y="18"/>
                    <a:pt x="4" y="23"/>
                  </a:cubicBezTo>
                  <a:cubicBezTo>
                    <a:pt x="2" y="28"/>
                    <a:pt x="1" y="34"/>
                    <a:pt x="1" y="39"/>
                  </a:cubicBezTo>
                  <a:cubicBezTo>
                    <a:pt x="0" y="47"/>
                    <a:pt x="0" y="49"/>
                    <a:pt x="0" y="67"/>
                  </a:cubicBezTo>
                  <a:cubicBezTo>
                    <a:pt x="0" y="86"/>
                    <a:pt x="0" y="88"/>
                    <a:pt x="1" y="95"/>
                  </a:cubicBezTo>
                  <a:cubicBezTo>
                    <a:pt x="1" y="101"/>
                    <a:pt x="2" y="107"/>
                    <a:pt x="4" y="112"/>
                  </a:cubicBezTo>
                  <a:cubicBezTo>
                    <a:pt x="5" y="116"/>
                    <a:pt x="8" y="120"/>
                    <a:pt x="12" y="124"/>
                  </a:cubicBezTo>
                  <a:cubicBezTo>
                    <a:pt x="15" y="127"/>
                    <a:pt x="19" y="130"/>
                    <a:pt x="24" y="132"/>
                  </a:cubicBezTo>
                  <a:cubicBezTo>
                    <a:pt x="29" y="134"/>
                    <a:pt x="34" y="135"/>
                    <a:pt x="40" y="135"/>
                  </a:cubicBezTo>
                  <a:cubicBezTo>
                    <a:pt x="47" y="135"/>
                    <a:pt x="50" y="135"/>
                    <a:pt x="68" y="135"/>
                  </a:cubicBezTo>
                  <a:cubicBezTo>
                    <a:pt x="86" y="135"/>
                    <a:pt x="89" y="135"/>
                    <a:pt x="96" y="135"/>
                  </a:cubicBezTo>
                  <a:cubicBezTo>
                    <a:pt x="102" y="135"/>
                    <a:pt x="107" y="134"/>
                    <a:pt x="112" y="132"/>
                  </a:cubicBezTo>
                  <a:cubicBezTo>
                    <a:pt x="117" y="130"/>
                    <a:pt x="121" y="127"/>
                    <a:pt x="124" y="124"/>
                  </a:cubicBezTo>
                  <a:cubicBezTo>
                    <a:pt x="128" y="120"/>
                    <a:pt x="131" y="116"/>
                    <a:pt x="132" y="112"/>
                  </a:cubicBezTo>
                  <a:cubicBezTo>
                    <a:pt x="134" y="107"/>
                    <a:pt x="135" y="101"/>
                    <a:pt x="135" y="95"/>
                  </a:cubicBezTo>
                  <a:cubicBezTo>
                    <a:pt x="136" y="88"/>
                    <a:pt x="136" y="86"/>
                    <a:pt x="136" y="67"/>
                  </a:cubicBezTo>
                  <a:cubicBezTo>
                    <a:pt x="136" y="49"/>
                    <a:pt x="136" y="47"/>
                    <a:pt x="135" y="39"/>
                  </a:cubicBezTo>
                  <a:cubicBezTo>
                    <a:pt x="135" y="34"/>
                    <a:pt x="134" y="28"/>
                    <a:pt x="132" y="23"/>
                  </a:cubicBezTo>
                  <a:cubicBezTo>
                    <a:pt x="131" y="18"/>
                    <a:pt x="128" y="14"/>
                    <a:pt x="124" y="11"/>
                  </a:cubicBezTo>
                  <a:cubicBezTo>
                    <a:pt x="121" y="7"/>
                    <a:pt x="117" y="5"/>
                    <a:pt x="112" y="3"/>
                  </a:cubicBezTo>
                  <a:cubicBezTo>
                    <a:pt x="107" y="1"/>
                    <a:pt x="102" y="0"/>
                    <a:pt x="96" y="0"/>
                  </a:cubicBezTo>
                  <a:cubicBezTo>
                    <a:pt x="89" y="0"/>
                    <a:pt x="86" y="0"/>
                    <a:pt x="68" y="0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567" y="2280"/>
              <a:ext cx="53" cy="52"/>
            </a:xfrm>
            <a:custGeom>
              <a:avLst/>
              <a:gdLst>
                <a:gd name="T0" fmla="*/ 35 w 70"/>
                <a:gd name="T1" fmla="*/ 0 h 69"/>
                <a:gd name="T2" fmla="*/ 0 w 70"/>
                <a:gd name="T3" fmla="*/ 34 h 69"/>
                <a:gd name="T4" fmla="*/ 0 w 70"/>
                <a:gd name="T5" fmla="*/ 34 h 69"/>
                <a:gd name="T6" fmla="*/ 35 w 70"/>
                <a:gd name="T7" fmla="*/ 69 h 69"/>
                <a:gd name="T8" fmla="*/ 35 w 70"/>
                <a:gd name="T9" fmla="*/ 69 h 69"/>
                <a:gd name="T10" fmla="*/ 70 w 70"/>
                <a:gd name="T11" fmla="*/ 34 h 69"/>
                <a:gd name="T12" fmla="*/ 35 w 70"/>
                <a:gd name="T13" fmla="*/ 0 h 69"/>
                <a:gd name="T14" fmla="*/ 35 w 70"/>
                <a:gd name="T15" fmla="*/ 0 h 69"/>
                <a:gd name="T16" fmla="*/ 35 w 70"/>
                <a:gd name="T17" fmla="*/ 57 h 69"/>
                <a:gd name="T18" fmla="*/ 12 w 70"/>
                <a:gd name="T19" fmla="*/ 34 h 69"/>
                <a:gd name="T20" fmla="*/ 35 w 70"/>
                <a:gd name="T21" fmla="*/ 12 h 69"/>
                <a:gd name="T22" fmla="*/ 35 w 70"/>
                <a:gd name="T23" fmla="*/ 12 h 69"/>
                <a:gd name="T24" fmla="*/ 58 w 70"/>
                <a:gd name="T25" fmla="*/ 34 h 69"/>
                <a:gd name="T26" fmla="*/ 35 w 70"/>
                <a:gd name="T27" fmla="*/ 5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69">
                  <a:moveTo>
                    <a:pt x="35" y="0"/>
                  </a:moveTo>
                  <a:cubicBezTo>
                    <a:pt x="16" y="0"/>
                    <a:pt x="0" y="15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54"/>
                    <a:pt x="16" y="69"/>
                    <a:pt x="35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54" y="69"/>
                    <a:pt x="70" y="54"/>
                    <a:pt x="70" y="34"/>
                  </a:cubicBezTo>
                  <a:cubicBezTo>
                    <a:pt x="70" y="15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moveTo>
                    <a:pt x="35" y="57"/>
                  </a:moveTo>
                  <a:cubicBezTo>
                    <a:pt x="22" y="57"/>
                    <a:pt x="12" y="47"/>
                    <a:pt x="12" y="34"/>
                  </a:cubicBezTo>
                  <a:cubicBezTo>
                    <a:pt x="12" y="22"/>
                    <a:pt x="22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47" y="12"/>
                    <a:pt x="58" y="22"/>
                    <a:pt x="58" y="34"/>
                  </a:cubicBezTo>
                  <a:cubicBezTo>
                    <a:pt x="58" y="47"/>
                    <a:pt x="47" y="57"/>
                    <a:pt x="35" y="57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614" y="2272"/>
              <a:ext cx="12" cy="12"/>
            </a:xfrm>
            <a:custGeom>
              <a:avLst/>
              <a:gdLst>
                <a:gd name="T0" fmla="*/ 16 w 16"/>
                <a:gd name="T1" fmla="*/ 8 h 16"/>
                <a:gd name="T2" fmla="*/ 8 w 16"/>
                <a:gd name="T3" fmla="*/ 16 h 16"/>
                <a:gd name="T4" fmla="*/ 8 w 16"/>
                <a:gd name="T5" fmla="*/ 16 h 16"/>
                <a:gd name="T6" fmla="*/ 0 w 16"/>
                <a:gd name="T7" fmla="*/ 8 h 16"/>
                <a:gd name="T8" fmla="*/ 8 w 16"/>
                <a:gd name="T9" fmla="*/ 0 h 16"/>
                <a:gd name="T10" fmla="*/ 16 w 16"/>
                <a:gd name="T11" fmla="*/ 8 h 16"/>
                <a:gd name="T12" fmla="*/ 16 w 16"/>
                <a:gd name="T13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6" y="8"/>
                  </a:moveTo>
                  <a:cubicBezTo>
                    <a:pt x="16" y="13"/>
                    <a:pt x="13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4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994" y="2290"/>
              <a:ext cx="19" cy="63"/>
            </a:xfrm>
            <a:prstGeom prst="rect">
              <a:avLst/>
            </a:pr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992" y="2258"/>
              <a:ext cx="23" cy="24"/>
            </a:xfrm>
            <a:custGeom>
              <a:avLst/>
              <a:gdLst>
                <a:gd name="T0" fmla="*/ 15 w 30"/>
                <a:gd name="T1" fmla="*/ 31 h 31"/>
                <a:gd name="T2" fmla="*/ 30 w 30"/>
                <a:gd name="T3" fmla="*/ 16 h 31"/>
                <a:gd name="T4" fmla="*/ 30 w 30"/>
                <a:gd name="T5" fmla="*/ 16 h 31"/>
                <a:gd name="T6" fmla="*/ 15 w 30"/>
                <a:gd name="T7" fmla="*/ 0 h 31"/>
                <a:gd name="T8" fmla="*/ 15 w 30"/>
                <a:gd name="T9" fmla="*/ 0 h 31"/>
                <a:gd name="T10" fmla="*/ 0 w 30"/>
                <a:gd name="T11" fmla="*/ 16 h 31"/>
                <a:gd name="T12" fmla="*/ 0 w 30"/>
                <a:gd name="T13" fmla="*/ 16 h 31"/>
                <a:gd name="T14" fmla="*/ 15 w 30"/>
                <a:gd name="T15" fmla="*/ 31 h 31"/>
                <a:gd name="T16" fmla="*/ 15 w 30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24" y="31"/>
                    <a:pt x="30" y="24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7"/>
                    <a:pt x="24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7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025" y="2288"/>
              <a:ext cx="60" cy="65"/>
            </a:xfrm>
            <a:custGeom>
              <a:avLst/>
              <a:gdLst>
                <a:gd name="T0" fmla="*/ 25 w 80"/>
                <a:gd name="T1" fmla="*/ 42 h 85"/>
                <a:gd name="T2" fmla="*/ 41 w 80"/>
                <a:gd name="T3" fmla="*/ 23 h 85"/>
                <a:gd name="T4" fmla="*/ 55 w 80"/>
                <a:gd name="T5" fmla="*/ 42 h 85"/>
                <a:gd name="T6" fmla="*/ 55 w 80"/>
                <a:gd name="T7" fmla="*/ 85 h 85"/>
                <a:gd name="T8" fmla="*/ 80 w 80"/>
                <a:gd name="T9" fmla="*/ 85 h 85"/>
                <a:gd name="T10" fmla="*/ 80 w 80"/>
                <a:gd name="T11" fmla="*/ 33 h 85"/>
                <a:gd name="T12" fmla="*/ 50 w 80"/>
                <a:gd name="T13" fmla="*/ 0 h 85"/>
                <a:gd name="T14" fmla="*/ 25 w 80"/>
                <a:gd name="T15" fmla="*/ 14 h 85"/>
                <a:gd name="T16" fmla="*/ 25 w 80"/>
                <a:gd name="T17" fmla="*/ 3 h 85"/>
                <a:gd name="T18" fmla="*/ 0 w 80"/>
                <a:gd name="T19" fmla="*/ 3 h 85"/>
                <a:gd name="T20" fmla="*/ 0 w 80"/>
                <a:gd name="T21" fmla="*/ 85 h 85"/>
                <a:gd name="T22" fmla="*/ 25 w 80"/>
                <a:gd name="T23" fmla="*/ 85 h 85"/>
                <a:gd name="T24" fmla="*/ 25 w 80"/>
                <a:gd name="T25" fmla="*/ 4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85">
                  <a:moveTo>
                    <a:pt x="25" y="42"/>
                  </a:moveTo>
                  <a:cubicBezTo>
                    <a:pt x="25" y="30"/>
                    <a:pt x="30" y="23"/>
                    <a:pt x="41" y="23"/>
                  </a:cubicBezTo>
                  <a:cubicBezTo>
                    <a:pt x="50" y="23"/>
                    <a:pt x="55" y="30"/>
                    <a:pt x="55" y="42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80" y="33"/>
                    <a:pt x="80" y="33"/>
                    <a:pt x="80" y="33"/>
                  </a:cubicBezTo>
                  <a:cubicBezTo>
                    <a:pt x="80" y="11"/>
                    <a:pt x="68" y="0"/>
                    <a:pt x="50" y="0"/>
                  </a:cubicBezTo>
                  <a:cubicBezTo>
                    <a:pt x="40" y="0"/>
                    <a:pt x="30" y="5"/>
                    <a:pt x="25" y="14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25" y="85"/>
                    <a:pt x="25" y="85"/>
                    <a:pt x="25" y="85"/>
                  </a:cubicBezTo>
                  <a:lnTo>
                    <a:pt x="25" y="42"/>
                  </a:ln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0699F7A-8C09-4A48-9B66-827A532FCD18}"/>
              </a:ext>
            </a:extLst>
          </p:cNvPr>
          <p:cNvSpPr/>
          <p:nvPr userDrawn="1"/>
        </p:nvSpPr>
        <p:spPr>
          <a:xfrm>
            <a:off x="3550920" y="-1"/>
            <a:ext cx="5593078" cy="5142291"/>
          </a:xfrm>
          <a:custGeom>
            <a:avLst/>
            <a:gdLst>
              <a:gd name="connsiteX0" fmla="*/ 3513470 w 5593078"/>
              <a:gd name="connsiteY0" fmla="*/ 0 h 5142291"/>
              <a:gd name="connsiteX1" fmla="*/ 5593078 w 5593078"/>
              <a:gd name="connsiteY1" fmla="*/ 0 h 5142291"/>
              <a:gd name="connsiteX2" fmla="*/ 5593078 w 5593078"/>
              <a:gd name="connsiteY2" fmla="*/ 1424535 h 5142291"/>
              <a:gd name="connsiteX3" fmla="*/ 3052921 w 5593078"/>
              <a:gd name="connsiteY3" fmla="*/ 5142291 h 5142291"/>
              <a:gd name="connsiteX4" fmla="*/ 0 w 5593078"/>
              <a:gd name="connsiteY4" fmla="*/ 5142291 h 514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3078" h="5142291">
                <a:moveTo>
                  <a:pt x="3513470" y="0"/>
                </a:moveTo>
                <a:lnTo>
                  <a:pt x="5593078" y="0"/>
                </a:lnTo>
                <a:lnTo>
                  <a:pt x="5593078" y="1424535"/>
                </a:lnTo>
                <a:lnTo>
                  <a:pt x="3052921" y="5142291"/>
                </a:lnTo>
                <a:lnTo>
                  <a:pt x="0" y="5142291"/>
                </a:lnTo>
                <a:close/>
              </a:path>
            </a:pathLst>
          </a:custGeom>
          <a:blipFill>
            <a:blip r:embed="rId4"/>
            <a:srcRect/>
            <a:stretch>
              <a:fillRect l="-18921" r="-1892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73415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3998" cy="5144709"/>
          </a:xfrm>
          <a:prstGeom prst="rect">
            <a:avLst/>
          </a:prstGeom>
        </p:spPr>
      </p:pic>
      <p:sp>
        <p:nvSpPr>
          <p:cNvPr id="26" name="Freeform 25"/>
          <p:cNvSpPr/>
          <p:nvPr userDrawn="1"/>
        </p:nvSpPr>
        <p:spPr>
          <a:xfrm>
            <a:off x="3149601" y="1613206"/>
            <a:ext cx="3806849" cy="3530295"/>
          </a:xfrm>
          <a:custGeom>
            <a:avLst/>
            <a:gdLst>
              <a:gd name="connsiteX0" fmla="*/ 2451578 w 3806849"/>
              <a:gd name="connsiteY0" fmla="*/ 0 h 3530295"/>
              <a:gd name="connsiteX1" fmla="*/ 2667478 w 3806849"/>
              <a:gd name="connsiteY1" fmla="*/ 0 h 3530295"/>
              <a:gd name="connsiteX2" fmla="*/ 215900 w 3806849"/>
              <a:gd name="connsiteY2" fmla="*/ 3530294 h 3530295"/>
              <a:gd name="connsiteX3" fmla="*/ 3806849 w 3806849"/>
              <a:gd name="connsiteY3" fmla="*/ 3530294 h 3530295"/>
              <a:gd name="connsiteX4" fmla="*/ 3806848 w 3806849"/>
              <a:gd name="connsiteY4" fmla="*/ 3530295 h 3530295"/>
              <a:gd name="connsiteX5" fmla="*/ 0 w 3806849"/>
              <a:gd name="connsiteY5" fmla="*/ 3530295 h 353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3530295">
                <a:moveTo>
                  <a:pt x="2451578" y="0"/>
                </a:moveTo>
                <a:lnTo>
                  <a:pt x="2667478" y="0"/>
                </a:lnTo>
                <a:lnTo>
                  <a:pt x="215900" y="3530294"/>
                </a:lnTo>
                <a:lnTo>
                  <a:pt x="3806849" y="3530294"/>
                </a:lnTo>
                <a:lnTo>
                  <a:pt x="3806848" y="3530295"/>
                </a:lnTo>
                <a:lnTo>
                  <a:pt x="0" y="35302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 userDrawn="1"/>
        </p:nvSpPr>
        <p:spPr>
          <a:xfrm>
            <a:off x="2883761" y="2871371"/>
            <a:ext cx="3806849" cy="2272130"/>
          </a:xfrm>
          <a:custGeom>
            <a:avLst/>
            <a:gdLst>
              <a:gd name="connsiteX0" fmla="*/ 1577858 w 3806849"/>
              <a:gd name="connsiteY0" fmla="*/ 0 h 2272130"/>
              <a:gd name="connsiteX1" fmla="*/ 2059598 w 3806849"/>
              <a:gd name="connsiteY1" fmla="*/ 0 h 2272130"/>
              <a:gd name="connsiteX2" fmla="*/ 481740 w 3806849"/>
              <a:gd name="connsiteY2" fmla="*/ 2272129 h 2272130"/>
              <a:gd name="connsiteX3" fmla="*/ 3806849 w 3806849"/>
              <a:gd name="connsiteY3" fmla="*/ 2272129 h 2272130"/>
              <a:gd name="connsiteX4" fmla="*/ 3806848 w 3806849"/>
              <a:gd name="connsiteY4" fmla="*/ 2272130 h 2272130"/>
              <a:gd name="connsiteX5" fmla="*/ 0 w 3806849"/>
              <a:gd name="connsiteY5" fmla="*/ 2272130 h 2272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2272130">
                <a:moveTo>
                  <a:pt x="1577858" y="0"/>
                </a:moveTo>
                <a:lnTo>
                  <a:pt x="2059598" y="0"/>
                </a:lnTo>
                <a:lnTo>
                  <a:pt x="481740" y="2272129"/>
                </a:lnTo>
                <a:lnTo>
                  <a:pt x="3806849" y="2272129"/>
                </a:lnTo>
                <a:lnTo>
                  <a:pt x="3806848" y="2272130"/>
                </a:lnTo>
                <a:lnTo>
                  <a:pt x="0" y="2272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149" y="1435396"/>
            <a:ext cx="2917372" cy="97462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ts val="3800"/>
              </a:lnSpc>
              <a:spcBef>
                <a:spcPts val="0"/>
              </a:spcBef>
              <a:buNone/>
              <a:defRPr sz="4400" b="1">
                <a:solidFill>
                  <a:schemeClr val="accent3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osing</a:t>
            </a:r>
          </a:p>
          <a:p>
            <a:pPr lvl="0"/>
            <a:r>
              <a:rPr lang="en-US" dirty="0"/>
              <a:t>Argumen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149" y="2583180"/>
            <a:ext cx="2917372" cy="761747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</a:t>
            </a:r>
            <a:endParaRPr lang="en-US" dirty="0"/>
          </a:p>
        </p:txBody>
      </p:sp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550863" y="3578236"/>
            <a:ext cx="947737" cy="133557"/>
            <a:chOff x="347" y="2254"/>
            <a:chExt cx="738" cy="104"/>
          </a:xfrm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767" y="2265"/>
              <a:ext cx="98" cy="82"/>
            </a:xfrm>
            <a:custGeom>
              <a:avLst/>
              <a:gdLst>
                <a:gd name="T0" fmla="*/ 0 w 132"/>
                <a:gd name="T1" fmla="*/ 95 h 107"/>
                <a:gd name="T2" fmla="*/ 42 w 132"/>
                <a:gd name="T3" fmla="*/ 107 h 107"/>
                <a:gd name="T4" fmla="*/ 118 w 132"/>
                <a:gd name="T5" fmla="*/ 26 h 107"/>
                <a:gd name="T6" fmla="*/ 132 w 132"/>
                <a:gd name="T7" fmla="*/ 12 h 107"/>
                <a:gd name="T8" fmla="*/ 116 w 132"/>
                <a:gd name="T9" fmla="*/ 17 h 107"/>
                <a:gd name="T10" fmla="*/ 128 w 132"/>
                <a:gd name="T11" fmla="*/ 2 h 107"/>
                <a:gd name="T12" fmla="*/ 111 w 132"/>
                <a:gd name="T13" fmla="*/ 8 h 107"/>
                <a:gd name="T14" fmla="*/ 91 w 132"/>
                <a:gd name="T15" fmla="*/ 0 h 107"/>
                <a:gd name="T16" fmla="*/ 64 w 132"/>
                <a:gd name="T17" fmla="*/ 27 h 107"/>
                <a:gd name="T18" fmla="*/ 65 w 132"/>
                <a:gd name="T19" fmla="*/ 33 h 107"/>
                <a:gd name="T20" fmla="*/ 9 w 132"/>
                <a:gd name="T21" fmla="*/ 5 h 107"/>
                <a:gd name="T22" fmla="*/ 18 w 132"/>
                <a:gd name="T23" fmla="*/ 41 h 107"/>
                <a:gd name="T24" fmla="*/ 5 w 132"/>
                <a:gd name="T25" fmla="*/ 37 h 107"/>
                <a:gd name="T26" fmla="*/ 27 w 132"/>
                <a:gd name="T27" fmla="*/ 64 h 107"/>
                <a:gd name="T28" fmla="*/ 15 w 132"/>
                <a:gd name="T29" fmla="*/ 65 h 107"/>
                <a:gd name="T30" fmla="*/ 40 w 132"/>
                <a:gd name="T31" fmla="*/ 84 h 107"/>
                <a:gd name="T32" fmla="*/ 0 w 132"/>
                <a:gd name="T33" fmla="*/ 9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107">
                  <a:moveTo>
                    <a:pt x="0" y="95"/>
                  </a:moveTo>
                  <a:cubicBezTo>
                    <a:pt x="12" y="103"/>
                    <a:pt x="27" y="107"/>
                    <a:pt x="42" y="107"/>
                  </a:cubicBezTo>
                  <a:cubicBezTo>
                    <a:pt x="92" y="107"/>
                    <a:pt x="120" y="65"/>
                    <a:pt x="118" y="26"/>
                  </a:cubicBezTo>
                  <a:cubicBezTo>
                    <a:pt x="124" y="23"/>
                    <a:pt x="128" y="18"/>
                    <a:pt x="132" y="12"/>
                  </a:cubicBezTo>
                  <a:cubicBezTo>
                    <a:pt x="127" y="15"/>
                    <a:pt x="122" y="16"/>
                    <a:pt x="116" y="17"/>
                  </a:cubicBezTo>
                  <a:cubicBezTo>
                    <a:pt x="122" y="13"/>
                    <a:pt x="126" y="8"/>
                    <a:pt x="128" y="2"/>
                  </a:cubicBezTo>
                  <a:cubicBezTo>
                    <a:pt x="123" y="5"/>
                    <a:pt x="117" y="7"/>
                    <a:pt x="111" y="8"/>
                  </a:cubicBezTo>
                  <a:cubicBezTo>
                    <a:pt x="106" y="3"/>
                    <a:pt x="99" y="0"/>
                    <a:pt x="91" y="0"/>
                  </a:cubicBezTo>
                  <a:cubicBezTo>
                    <a:pt x="76" y="0"/>
                    <a:pt x="64" y="12"/>
                    <a:pt x="64" y="27"/>
                  </a:cubicBezTo>
                  <a:cubicBezTo>
                    <a:pt x="64" y="29"/>
                    <a:pt x="65" y="31"/>
                    <a:pt x="65" y="33"/>
                  </a:cubicBezTo>
                  <a:cubicBezTo>
                    <a:pt x="43" y="32"/>
                    <a:pt x="23" y="22"/>
                    <a:pt x="9" y="5"/>
                  </a:cubicBezTo>
                  <a:cubicBezTo>
                    <a:pt x="2" y="17"/>
                    <a:pt x="6" y="33"/>
                    <a:pt x="18" y="41"/>
                  </a:cubicBezTo>
                  <a:cubicBezTo>
                    <a:pt x="13" y="41"/>
                    <a:pt x="9" y="40"/>
                    <a:pt x="5" y="37"/>
                  </a:cubicBezTo>
                  <a:cubicBezTo>
                    <a:pt x="5" y="50"/>
                    <a:pt x="14" y="62"/>
                    <a:pt x="27" y="64"/>
                  </a:cubicBezTo>
                  <a:cubicBezTo>
                    <a:pt x="23" y="65"/>
                    <a:pt x="19" y="66"/>
                    <a:pt x="15" y="65"/>
                  </a:cubicBezTo>
                  <a:cubicBezTo>
                    <a:pt x="18" y="76"/>
                    <a:pt x="29" y="83"/>
                    <a:pt x="40" y="84"/>
                  </a:cubicBezTo>
                  <a:cubicBezTo>
                    <a:pt x="29" y="92"/>
                    <a:pt x="14" y="97"/>
                    <a:pt x="0" y="95"/>
                  </a:cubicBez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347" y="2254"/>
              <a:ext cx="48" cy="104"/>
            </a:xfrm>
            <a:custGeom>
              <a:avLst/>
              <a:gdLst>
                <a:gd name="T0" fmla="*/ 15 w 64"/>
                <a:gd name="T1" fmla="*/ 137 h 137"/>
                <a:gd name="T2" fmla="*/ 42 w 64"/>
                <a:gd name="T3" fmla="*/ 137 h 137"/>
                <a:gd name="T4" fmla="*/ 42 w 64"/>
                <a:gd name="T5" fmla="*/ 68 h 137"/>
                <a:gd name="T6" fmla="*/ 61 w 64"/>
                <a:gd name="T7" fmla="*/ 68 h 137"/>
                <a:gd name="T8" fmla="*/ 64 w 64"/>
                <a:gd name="T9" fmla="*/ 45 h 137"/>
                <a:gd name="T10" fmla="*/ 42 w 64"/>
                <a:gd name="T11" fmla="*/ 45 h 137"/>
                <a:gd name="T12" fmla="*/ 42 w 64"/>
                <a:gd name="T13" fmla="*/ 31 h 137"/>
                <a:gd name="T14" fmla="*/ 49 w 64"/>
                <a:gd name="T15" fmla="*/ 24 h 137"/>
                <a:gd name="T16" fmla="*/ 64 w 64"/>
                <a:gd name="T17" fmla="*/ 24 h 137"/>
                <a:gd name="T18" fmla="*/ 64 w 64"/>
                <a:gd name="T19" fmla="*/ 0 h 137"/>
                <a:gd name="T20" fmla="*/ 44 w 64"/>
                <a:gd name="T21" fmla="*/ 0 h 137"/>
                <a:gd name="T22" fmla="*/ 15 w 64"/>
                <a:gd name="T23" fmla="*/ 26 h 137"/>
                <a:gd name="T24" fmla="*/ 15 w 64"/>
                <a:gd name="T25" fmla="*/ 45 h 137"/>
                <a:gd name="T26" fmla="*/ 0 w 64"/>
                <a:gd name="T27" fmla="*/ 45 h 137"/>
                <a:gd name="T28" fmla="*/ 0 w 64"/>
                <a:gd name="T29" fmla="*/ 68 h 137"/>
                <a:gd name="T30" fmla="*/ 15 w 64"/>
                <a:gd name="T31" fmla="*/ 68 h 137"/>
                <a:gd name="T32" fmla="*/ 15 w 64"/>
                <a:gd name="T3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137">
                  <a:moveTo>
                    <a:pt x="15" y="137"/>
                  </a:moveTo>
                  <a:cubicBezTo>
                    <a:pt x="42" y="137"/>
                    <a:pt x="42" y="137"/>
                    <a:pt x="42" y="137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61" y="68"/>
                    <a:pt x="61" y="68"/>
                    <a:pt x="61" y="68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26"/>
                    <a:pt x="43" y="24"/>
                    <a:pt x="49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24" y="0"/>
                    <a:pt x="15" y="9"/>
                    <a:pt x="15" y="26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15" y="68"/>
                    <a:pt x="15" y="68"/>
                    <a:pt x="15" y="68"/>
                  </a:cubicBezTo>
                  <a:lnTo>
                    <a:pt x="15" y="137"/>
                  </a:ln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 noEditPoints="1"/>
            </p:cNvSpPr>
            <p:nvPr userDrawn="1"/>
          </p:nvSpPr>
          <p:spPr bwMode="auto">
            <a:xfrm>
              <a:off x="543" y="2254"/>
              <a:ext cx="101" cy="103"/>
            </a:xfrm>
            <a:custGeom>
              <a:avLst/>
              <a:gdLst>
                <a:gd name="T0" fmla="*/ 68 w 136"/>
                <a:gd name="T1" fmla="*/ 12 h 135"/>
                <a:gd name="T2" fmla="*/ 95 w 136"/>
                <a:gd name="T3" fmla="*/ 12 h 135"/>
                <a:gd name="T4" fmla="*/ 108 w 136"/>
                <a:gd name="T5" fmla="*/ 15 h 135"/>
                <a:gd name="T6" fmla="*/ 116 w 136"/>
                <a:gd name="T7" fmla="*/ 20 h 135"/>
                <a:gd name="T8" fmla="*/ 121 w 136"/>
                <a:gd name="T9" fmla="*/ 27 h 135"/>
                <a:gd name="T10" fmla="*/ 123 w 136"/>
                <a:gd name="T11" fmla="*/ 40 h 135"/>
                <a:gd name="T12" fmla="*/ 124 w 136"/>
                <a:gd name="T13" fmla="*/ 67 h 135"/>
                <a:gd name="T14" fmla="*/ 123 w 136"/>
                <a:gd name="T15" fmla="*/ 95 h 135"/>
                <a:gd name="T16" fmla="*/ 121 w 136"/>
                <a:gd name="T17" fmla="*/ 107 h 135"/>
                <a:gd name="T18" fmla="*/ 116 w 136"/>
                <a:gd name="T19" fmla="*/ 115 h 135"/>
                <a:gd name="T20" fmla="*/ 108 w 136"/>
                <a:gd name="T21" fmla="*/ 120 h 135"/>
                <a:gd name="T22" fmla="*/ 95 w 136"/>
                <a:gd name="T23" fmla="*/ 123 h 135"/>
                <a:gd name="T24" fmla="*/ 68 w 136"/>
                <a:gd name="T25" fmla="*/ 123 h 135"/>
                <a:gd name="T26" fmla="*/ 41 w 136"/>
                <a:gd name="T27" fmla="*/ 123 h 135"/>
                <a:gd name="T28" fmla="*/ 28 w 136"/>
                <a:gd name="T29" fmla="*/ 120 h 135"/>
                <a:gd name="T30" fmla="*/ 20 w 136"/>
                <a:gd name="T31" fmla="*/ 115 h 135"/>
                <a:gd name="T32" fmla="*/ 15 w 136"/>
                <a:gd name="T33" fmla="*/ 107 h 135"/>
                <a:gd name="T34" fmla="*/ 13 w 136"/>
                <a:gd name="T35" fmla="*/ 95 h 135"/>
                <a:gd name="T36" fmla="*/ 12 w 136"/>
                <a:gd name="T37" fmla="*/ 67 h 135"/>
                <a:gd name="T38" fmla="*/ 13 w 136"/>
                <a:gd name="T39" fmla="*/ 40 h 135"/>
                <a:gd name="T40" fmla="*/ 15 w 136"/>
                <a:gd name="T41" fmla="*/ 27 h 135"/>
                <a:gd name="T42" fmla="*/ 20 w 136"/>
                <a:gd name="T43" fmla="*/ 20 h 135"/>
                <a:gd name="T44" fmla="*/ 28 w 136"/>
                <a:gd name="T45" fmla="*/ 15 h 135"/>
                <a:gd name="T46" fmla="*/ 41 w 136"/>
                <a:gd name="T47" fmla="*/ 12 h 135"/>
                <a:gd name="T48" fmla="*/ 68 w 136"/>
                <a:gd name="T49" fmla="*/ 12 h 135"/>
                <a:gd name="T50" fmla="*/ 68 w 136"/>
                <a:gd name="T51" fmla="*/ 0 h 135"/>
                <a:gd name="T52" fmla="*/ 40 w 136"/>
                <a:gd name="T53" fmla="*/ 0 h 135"/>
                <a:gd name="T54" fmla="*/ 24 w 136"/>
                <a:gd name="T55" fmla="*/ 3 h 135"/>
                <a:gd name="T56" fmla="*/ 12 w 136"/>
                <a:gd name="T57" fmla="*/ 11 h 135"/>
                <a:gd name="T58" fmla="*/ 4 w 136"/>
                <a:gd name="T59" fmla="*/ 23 h 135"/>
                <a:gd name="T60" fmla="*/ 1 w 136"/>
                <a:gd name="T61" fmla="*/ 39 h 135"/>
                <a:gd name="T62" fmla="*/ 0 w 136"/>
                <a:gd name="T63" fmla="*/ 67 h 135"/>
                <a:gd name="T64" fmla="*/ 1 w 136"/>
                <a:gd name="T65" fmla="*/ 95 h 135"/>
                <a:gd name="T66" fmla="*/ 4 w 136"/>
                <a:gd name="T67" fmla="*/ 112 h 135"/>
                <a:gd name="T68" fmla="*/ 12 w 136"/>
                <a:gd name="T69" fmla="*/ 124 h 135"/>
                <a:gd name="T70" fmla="*/ 24 w 136"/>
                <a:gd name="T71" fmla="*/ 132 h 135"/>
                <a:gd name="T72" fmla="*/ 40 w 136"/>
                <a:gd name="T73" fmla="*/ 135 h 135"/>
                <a:gd name="T74" fmla="*/ 68 w 136"/>
                <a:gd name="T75" fmla="*/ 135 h 135"/>
                <a:gd name="T76" fmla="*/ 96 w 136"/>
                <a:gd name="T77" fmla="*/ 135 h 135"/>
                <a:gd name="T78" fmla="*/ 112 w 136"/>
                <a:gd name="T79" fmla="*/ 132 h 135"/>
                <a:gd name="T80" fmla="*/ 124 w 136"/>
                <a:gd name="T81" fmla="*/ 124 h 135"/>
                <a:gd name="T82" fmla="*/ 132 w 136"/>
                <a:gd name="T83" fmla="*/ 112 h 135"/>
                <a:gd name="T84" fmla="*/ 135 w 136"/>
                <a:gd name="T85" fmla="*/ 95 h 135"/>
                <a:gd name="T86" fmla="*/ 136 w 136"/>
                <a:gd name="T87" fmla="*/ 67 h 135"/>
                <a:gd name="T88" fmla="*/ 135 w 136"/>
                <a:gd name="T89" fmla="*/ 39 h 135"/>
                <a:gd name="T90" fmla="*/ 132 w 136"/>
                <a:gd name="T91" fmla="*/ 23 h 135"/>
                <a:gd name="T92" fmla="*/ 124 w 136"/>
                <a:gd name="T93" fmla="*/ 11 h 135"/>
                <a:gd name="T94" fmla="*/ 112 w 136"/>
                <a:gd name="T95" fmla="*/ 3 h 135"/>
                <a:gd name="T96" fmla="*/ 96 w 136"/>
                <a:gd name="T97" fmla="*/ 0 h 135"/>
                <a:gd name="T98" fmla="*/ 68 w 136"/>
                <a:gd name="T99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6" h="135">
                  <a:moveTo>
                    <a:pt x="68" y="12"/>
                  </a:moveTo>
                  <a:cubicBezTo>
                    <a:pt x="86" y="12"/>
                    <a:pt x="88" y="12"/>
                    <a:pt x="95" y="12"/>
                  </a:cubicBezTo>
                  <a:cubicBezTo>
                    <a:pt x="100" y="12"/>
                    <a:pt x="104" y="13"/>
                    <a:pt x="108" y="15"/>
                  </a:cubicBezTo>
                  <a:cubicBezTo>
                    <a:pt x="111" y="16"/>
                    <a:pt x="114" y="17"/>
                    <a:pt x="116" y="20"/>
                  </a:cubicBezTo>
                  <a:cubicBezTo>
                    <a:pt x="118" y="22"/>
                    <a:pt x="120" y="24"/>
                    <a:pt x="121" y="27"/>
                  </a:cubicBezTo>
                  <a:cubicBezTo>
                    <a:pt x="122" y="31"/>
                    <a:pt x="123" y="36"/>
                    <a:pt x="123" y="40"/>
                  </a:cubicBezTo>
                  <a:cubicBezTo>
                    <a:pt x="124" y="47"/>
                    <a:pt x="124" y="49"/>
                    <a:pt x="124" y="67"/>
                  </a:cubicBezTo>
                  <a:cubicBezTo>
                    <a:pt x="124" y="85"/>
                    <a:pt x="124" y="88"/>
                    <a:pt x="123" y="95"/>
                  </a:cubicBezTo>
                  <a:cubicBezTo>
                    <a:pt x="123" y="99"/>
                    <a:pt x="122" y="103"/>
                    <a:pt x="121" y="107"/>
                  </a:cubicBezTo>
                  <a:cubicBezTo>
                    <a:pt x="120" y="110"/>
                    <a:pt x="118" y="113"/>
                    <a:pt x="116" y="115"/>
                  </a:cubicBezTo>
                  <a:cubicBezTo>
                    <a:pt x="114" y="117"/>
                    <a:pt x="111" y="119"/>
                    <a:pt x="108" y="120"/>
                  </a:cubicBezTo>
                  <a:cubicBezTo>
                    <a:pt x="104" y="122"/>
                    <a:pt x="100" y="123"/>
                    <a:pt x="95" y="123"/>
                  </a:cubicBezTo>
                  <a:cubicBezTo>
                    <a:pt x="88" y="123"/>
                    <a:pt x="86" y="123"/>
                    <a:pt x="68" y="123"/>
                  </a:cubicBezTo>
                  <a:cubicBezTo>
                    <a:pt x="50" y="123"/>
                    <a:pt x="48" y="123"/>
                    <a:pt x="41" y="123"/>
                  </a:cubicBezTo>
                  <a:cubicBezTo>
                    <a:pt x="36" y="123"/>
                    <a:pt x="32" y="122"/>
                    <a:pt x="28" y="120"/>
                  </a:cubicBezTo>
                  <a:cubicBezTo>
                    <a:pt x="25" y="119"/>
                    <a:pt x="22" y="117"/>
                    <a:pt x="20" y="115"/>
                  </a:cubicBezTo>
                  <a:cubicBezTo>
                    <a:pt x="18" y="113"/>
                    <a:pt x="16" y="110"/>
                    <a:pt x="15" y="107"/>
                  </a:cubicBezTo>
                  <a:cubicBezTo>
                    <a:pt x="14" y="103"/>
                    <a:pt x="13" y="99"/>
                    <a:pt x="13" y="95"/>
                  </a:cubicBezTo>
                  <a:cubicBezTo>
                    <a:pt x="12" y="88"/>
                    <a:pt x="12" y="86"/>
                    <a:pt x="12" y="67"/>
                  </a:cubicBezTo>
                  <a:cubicBezTo>
                    <a:pt x="12" y="49"/>
                    <a:pt x="12" y="47"/>
                    <a:pt x="13" y="40"/>
                  </a:cubicBezTo>
                  <a:cubicBezTo>
                    <a:pt x="13" y="36"/>
                    <a:pt x="14" y="31"/>
                    <a:pt x="15" y="27"/>
                  </a:cubicBezTo>
                  <a:cubicBezTo>
                    <a:pt x="16" y="24"/>
                    <a:pt x="18" y="22"/>
                    <a:pt x="20" y="20"/>
                  </a:cubicBezTo>
                  <a:cubicBezTo>
                    <a:pt x="22" y="17"/>
                    <a:pt x="25" y="16"/>
                    <a:pt x="28" y="15"/>
                  </a:cubicBezTo>
                  <a:cubicBezTo>
                    <a:pt x="32" y="13"/>
                    <a:pt x="36" y="12"/>
                    <a:pt x="41" y="12"/>
                  </a:cubicBezTo>
                  <a:cubicBezTo>
                    <a:pt x="48" y="12"/>
                    <a:pt x="50" y="12"/>
                    <a:pt x="68" y="12"/>
                  </a:cubicBezTo>
                  <a:moveTo>
                    <a:pt x="68" y="0"/>
                  </a:moveTo>
                  <a:cubicBezTo>
                    <a:pt x="50" y="0"/>
                    <a:pt x="47" y="0"/>
                    <a:pt x="40" y="0"/>
                  </a:cubicBezTo>
                  <a:cubicBezTo>
                    <a:pt x="34" y="0"/>
                    <a:pt x="29" y="1"/>
                    <a:pt x="24" y="3"/>
                  </a:cubicBezTo>
                  <a:cubicBezTo>
                    <a:pt x="19" y="5"/>
                    <a:pt x="15" y="7"/>
                    <a:pt x="12" y="11"/>
                  </a:cubicBezTo>
                  <a:cubicBezTo>
                    <a:pt x="8" y="14"/>
                    <a:pt x="5" y="18"/>
                    <a:pt x="4" y="23"/>
                  </a:cubicBezTo>
                  <a:cubicBezTo>
                    <a:pt x="2" y="28"/>
                    <a:pt x="1" y="34"/>
                    <a:pt x="1" y="39"/>
                  </a:cubicBezTo>
                  <a:cubicBezTo>
                    <a:pt x="0" y="47"/>
                    <a:pt x="0" y="49"/>
                    <a:pt x="0" y="67"/>
                  </a:cubicBezTo>
                  <a:cubicBezTo>
                    <a:pt x="0" y="86"/>
                    <a:pt x="0" y="88"/>
                    <a:pt x="1" y="95"/>
                  </a:cubicBezTo>
                  <a:cubicBezTo>
                    <a:pt x="1" y="101"/>
                    <a:pt x="2" y="107"/>
                    <a:pt x="4" y="112"/>
                  </a:cubicBezTo>
                  <a:cubicBezTo>
                    <a:pt x="5" y="116"/>
                    <a:pt x="8" y="120"/>
                    <a:pt x="12" y="124"/>
                  </a:cubicBezTo>
                  <a:cubicBezTo>
                    <a:pt x="15" y="127"/>
                    <a:pt x="19" y="130"/>
                    <a:pt x="24" y="132"/>
                  </a:cubicBezTo>
                  <a:cubicBezTo>
                    <a:pt x="29" y="134"/>
                    <a:pt x="34" y="135"/>
                    <a:pt x="40" y="135"/>
                  </a:cubicBezTo>
                  <a:cubicBezTo>
                    <a:pt x="47" y="135"/>
                    <a:pt x="50" y="135"/>
                    <a:pt x="68" y="135"/>
                  </a:cubicBezTo>
                  <a:cubicBezTo>
                    <a:pt x="86" y="135"/>
                    <a:pt x="89" y="135"/>
                    <a:pt x="96" y="135"/>
                  </a:cubicBezTo>
                  <a:cubicBezTo>
                    <a:pt x="102" y="135"/>
                    <a:pt x="107" y="134"/>
                    <a:pt x="112" y="132"/>
                  </a:cubicBezTo>
                  <a:cubicBezTo>
                    <a:pt x="117" y="130"/>
                    <a:pt x="121" y="127"/>
                    <a:pt x="124" y="124"/>
                  </a:cubicBezTo>
                  <a:cubicBezTo>
                    <a:pt x="128" y="120"/>
                    <a:pt x="131" y="116"/>
                    <a:pt x="132" y="112"/>
                  </a:cubicBezTo>
                  <a:cubicBezTo>
                    <a:pt x="134" y="107"/>
                    <a:pt x="135" y="101"/>
                    <a:pt x="135" y="95"/>
                  </a:cubicBezTo>
                  <a:cubicBezTo>
                    <a:pt x="136" y="88"/>
                    <a:pt x="136" y="86"/>
                    <a:pt x="136" y="67"/>
                  </a:cubicBezTo>
                  <a:cubicBezTo>
                    <a:pt x="136" y="49"/>
                    <a:pt x="136" y="47"/>
                    <a:pt x="135" y="39"/>
                  </a:cubicBezTo>
                  <a:cubicBezTo>
                    <a:pt x="135" y="34"/>
                    <a:pt x="134" y="28"/>
                    <a:pt x="132" y="23"/>
                  </a:cubicBezTo>
                  <a:cubicBezTo>
                    <a:pt x="131" y="18"/>
                    <a:pt x="128" y="14"/>
                    <a:pt x="124" y="11"/>
                  </a:cubicBezTo>
                  <a:cubicBezTo>
                    <a:pt x="121" y="7"/>
                    <a:pt x="117" y="5"/>
                    <a:pt x="112" y="3"/>
                  </a:cubicBezTo>
                  <a:cubicBezTo>
                    <a:pt x="107" y="1"/>
                    <a:pt x="102" y="0"/>
                    <a:pt x="96" y="0"/>
                  </a:cubicBezTo>
                  <a:cubicBezTo>
                    <a:pt x="89" y="0"/>
                    <a:pt x="86" y="0"/>
                    <a:pt x="68" y="0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567" y="2280"/>
              <a:ext cx="53" cy="52"/>
            </a:xfrm>
            <a:custGeom>
              <a:avLst/>
              <a:gdLst>
                <a:gd name="T0" fmla="*/ 35 w 70"/>
                <a:gd name="T1" fmla="*/ 0 h 69"/>
                <a:gd name="T2" fmla="*/ 0 w 70"/>
                <a:gd name="T3" fmla="*/ 34 h 69"/>
                <a:gd name="T4" fmla="*/ 0 w 70"/>
                <a:gd name="T5" fmla="*/ 34 h 69"/>
                <a:gd name="T6" fmla="*/ 35 w 70"/>
                <a:gd name="T7" fmla="*/ 69 h 69"/>
                <a:gd name="T8" fmla="*/ 35 w 70"/>
                <a:gd name="T9" fmla="*/ 69 h 69"/>
                <a:gd name="T10" fmla="*/ 70 w 70"/>
                <a:gd name="T11" fmla="*/ 34 h 69"/>
                <a:gd name="T12" fmla="*/ 35 w 70"/>
                <a:gd name="T13" fmla="*/ 0 h 69"/>
                <a:gd name="T14" fmla="*/ 35 w 70"/>
                <a:gd name="T15" fmla="*/ 0 h 69"/>
                <a:gd name="T16" fmla="*/ 35 w 70"/>
                <a:gd name="T17" fmla="*/ 57 h 69"/>
                <a:gd name="T18" fmla="*/ 12 w 70"/>
                <a:gd name="T19" fmla="*/ 34 h 69"/>
                <a:gd name="T20" fmla="*/ 35 w 70"/>
                <a:gd name="T21" fmla="*/ 12 h 69"/>
                <a:gd name="T22" fmla="*/ 35 w 70"/>
                <a:gd name="T23" fmla="*/ 12 h 69"/>
                <a:gd name="T24" fmla="*/ 58 w 70"/>
                <a:gd name="T25" fmla="*/ 34 h 69"/>
                <a:gd name="T26" fmla="*/ 35 w 70"/>
                <a:gd name="T27" fmla="*/ 5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69">
                  <a:moveTo>
                    <a:pt x="35" y="0"/>
                  </a:moveTo>
                  <a:cubicBezTo>
                    <a:pt x="16" y="0"/>
                    <a:pt x="0" y="15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54"/>
                    <a:pt x="16" y="69"/>
                    <a:pt x="35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54" y="69"/>
                    <a:pt x="70" y="54"/>
                    <a:pt x="70" y="34"/>
                  </a:cubicBezTo>
                  <a:cubicBezTo>
                    <a:pt x="70" y="15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moveTo>
                    <a:pt x="35" y="57"/>
                  </a:moveTo>
                  <a:cubicBezTo>
                    <a:pt x="22" y="57"/>
                    <a:pt x="12" y="47"/>
                    <a:pt x="12" y="34"/>
                  </a:cubicBezTo>
                  <a:cubicBezTo>
                    <a:pt x="12" y="22"/>
                    <a:pt x="22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47" y="12"/>
                    <a:pt x="58" y="22"/>
                    <a:pt x="58" y="34"/>
                  </a:cubicBezTo>
                  <a:cubicBezTo>
                    <a:pt x="58" y="47"/>
                    <a:pt x="47" y="57"/>
                    <a:pt x="35" y="57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614" y="2272"/>
              <a:ext cx="12" cy="12"/>
            </a:xfrm>
            <a:custGeom>
              <a:avLst/>
              <a:gdLst>
                <a:gd name="T0" fmla="*/ 16 w 16"/>
                <a:gd name="T1" fmla="*/ 8 h 16"/>
                <a:gd name="T2" fmla="*/ 8 w 16"/>
                <a:gd name="T3" fmla="*/ 16 h 16"/>
                <a:gd name="T4" fmla="*/ 8 w 16"/>
                <a:gd name="T5" fmla="*/ 16 h 16"/>
                <a:gd name="T6" fmla="*/ 0 w 16"/>
                <a:gd name="T7" fmla="*/ 8 h 16"/>
                <a:gd name="T8" fmla="*/ 8 w 16"/>
                <a:gd name="T9" fmla="*/ 0 h 16"/>
                <a:gd name="T10" fmla="*/ 16 w 16"/>
                <a:gd name="T11" fmla="*/ 8 h 16"/>
                <a:gd name="T12" fmla="*/ 16 w 16"/>
                <a:gd name="T13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6" y="8"/>
                  </a:moveTo>
                  <a:cubicBezTo>
                    <a:pt x="16" y="13"/>
                    <a:pt x="13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4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994" y="2290"/>
              <a:ext cx="19" cy="63"/>
            </a:xfrm>
            <a:prstGeom prst="rect">
              <a:avLst/>
            </a:pr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992" y="2258"/>
              <a:ext cx="23" cy="24"/>
            </a:xfrm>
            <a:custGeom>
              <a:avLst/>
              <a:gdLst>
                <a:gd name="T0" fmla="*/ 15 w 30"/>
                <a:gd name="T1" fmla="*/ 31 h 31"/>
                <a:gd name="T2" fmla="*/ 30 w 30"/>
                <a:gd name="T3" fmla="*/ 16 h 31"/>
                <a:gd name="T4" fmla="*/ 30 w 30"/>
                <a:gd name="T5" fmla="*/ 16 h 31"/>
                <a:gd name="T6" fmla="*/ 15 w 30"/>
                <a:gd name="T7" fmla="*/ 0 h 31"/>
                <a:gd name="T8" fmla="*/ 15 w 30"/>
                <a:gd name="T9" fmla="*/ 0 h 31"/>
                <a:gd name="T10" fmla="*/ 0 w 30"/>
                <a:gd name="T11" fmla="*/ 16 h 31"/>
                <a:gd name="T12" fmla="*/ 0 w 30"/>
                <a:gd name="T13" fmla="*/ 16 h 31"/>
                <a:gd name="T14" fmla="*/ 15 w 30"/>
                <a:gd name="T15" fmla="*/ 31 h 31"/>
                <a:gd name="T16" fmla="*/ 15 w 30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24" y="31"/>
                    <a:pt x="30" y="24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7"/>
                    <a:pt x="24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7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025" y="2288"/>
              <a:ext cx="60" cy="65"/>
            </a:xfrm>
            <a:custGeom>
              <a:avLst/>
              <a:gdLst>
                <a:gd name="T0" fmla="*/ 25 w 80"/>
                <a:gd name="T1" fmla="*/ 42 h 85"/>
                <a:gd name="T2" fmla="*/ 41 w 80"/>
                <a:gd name="T3" fmla="*/ 23 h 85"/>
                <a:gd name="T4" fmla="*/ 55 w 80"/>
                <a:gd name="T5" fmla="*/ 42 h 85"/>
                <a:gd name="T6" fmla="*/ 55 w 80"/>
                <a:gd name="T7" fmla="*/ 85 h 85"/>
                <a:gd name="T8" fmla="*/ 80 w 80"/>
                <a:gd name="T9" fmla="*/ 85 h 85"/>
                <a:gd name="T10" fmla="*/ 80 w 80"/>
                <a:gd name="T11" fmla="*/ 33 h 85"/>
                <a:gd name="T12" fmla="*/ 50 w 80"/>
                <a:gd name="T13" fmla="*/ 0 h 85"/>
                <a:gd name="T14" fmla="*/ 25 w 80"/>
                <a:gd name="T15" fmla="*/ 14 h 85"/>
                <a:gd name="T16" fmla="*/ 25 w 80"/>
                <a:gd name="T17" fmla="*/ 3 h 85"/>
                <a:gd name="T18" fmla="*/ 0 w 80"/>
                <a:gd name="T19" fmla="*/ 3 h 85"/>
                <a:gd name="T20" fmla="*/ 0 w 80"/>
                <a:gd name="T21" fmla="*/ 85 h 85"/>
                <a:gd name="T22" fmla="*/ 25 w 80"/>
                <a:gd name="T23" fmla="*/ 85 h 85"/>
                <a:gd name="T24" fmla="*/ 25 w 80"/>
                <a:gd name="T25" fmla="*/ 4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85">
                  <a:moveTo>
                    <a:pt x="25" y="42"/>
                  </a:moveTo>
                  <a:cubicBezTo>
                    <a:pt x="25" y="30"/>
                    <a:pt x="30" y="23"/>
                    <a:pt x="41" y="23"/>
                  </a:cubicBezTo>
                  <a:cubicBezTo>
                    <a:pt x="50" y="23"/>
                    <a:pt x="55" y="30"/>
                    <a:pt x="55" y="42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80" y="33"/>
                    <a:pt x="80" y="33"/>
                    <a:pt x="80" y="33"/>
                  </a:cubicBezTo>
                  <a:cubicBezTo>
                    <a:pt x="80" y="11"/>
                    <a:pt x="68" y="0"/>
                    <a:pt x="50" y="0"/>
                  </a:cubicBezTo>
                  <a:cubicBezTo>
                    <a:pt x="40" y="0"/>
                    <a:pt x="30" y="5"/>
                    <a:pt x="25" y="14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25" y="85"/>
                    <a:pt x="25" y="85"/>
                    <a:pt x="25" y="85"/>
                  </a:cubicBezTo>
                  <a:lnTo>
                    <a:pt x="25" y="42"/>
                  </a:ln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0699F7A-8C09-4A48-9B66-827A532FCD18}"/>
              </a:ext>
            </a:extLst>
          </p:cNvPr>
          <p:cNvSpPr/>
          <p:nvPr userDrawn="1"/>
        </p:nvSpPr>
        <p:spPr>
          <a:xfrm>
            <a:off x="3550920" y="-1"/>
            <a:ext cx="5593078" cy="5142291"/>
          </a:xfrm>
          <a:custGeom>
            <a:avLst/>
            <a:gdLst>
              <a:gd name="connsiteX0" fmla="*/ 3513470 w 5593078"/>
              <a:gd name="connsiteY0" fmla="*/ 0 h 5142291"/>
              <a:gd name="connsiteX1" fmla="*/ 5593078 w 5593078"/>
              <a:gd name="connsiteY1" fmla="*/ 0 h 5142291"/>
              <a:gd name="connsiteX2" fmla="*/ 5593078 w 5593078"/>
              <a:gd name="connsiteY2" fmla="*/ 1424535 h 5142291"/>
              <a:gd name="connsiteX3" fmla="*/ 3052921 w 5593078"/>
              <a:gd name="connsiteY3" fmla="*/ 5142291 h 5142291"/>
              <a:gd name="connsiteX4" fmla="*/ 0 w 5593078"/>
              <a:gd name="connsiteY4" fmla="*/ 5142291 h 514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3078" h="5142291">
                <a:moveTo>
                  <a:pt x="3513470" y="0"/>
                </a:moveTo>
                <a:lnTo>
                  <a:pt x="5593078" y="0"/>
                </a:lnTo>
                <a:lnTo>
                  <a:pt x="5593078" y="1424535"/>
                </a:lnTo>
                <a:lnTo>
                  <a:pt x="3052921" y="5142291"/>
                </a:lnTo>
                <a:lnTo>
                  <a:pt x="0" y="5142291"/>
                </a:lnTo>
                <a:close/>
              </a:path>
            </a:pathLst>
          </a:custGeom>
          <a:blipFill>
            <a:blip r:embed="rId4"/>
            <a:srcRect/>
            <a:stretch>
              <a:fillRect l="-16866" r="-5742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9991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3998" cy="5144709"/>
          </a:xfrm>
          <a:prstGeom prst="rect">
            <a:avLst/>
          </a:prstGeom>
        </p:spPr>
      </p:pic>
      <p:sp>
        <p:nvSpPr>
          <p:cNvPr id="26" name="Freeform 25"/>
          <p:cNvSpPr/>
          <p:nvPr userDrawn="1"/>
        </p:nvSpPr>
        <p:spPr>
          <a:xfrm>
            <a:off x="3149601" y="1613206"/>
            <a:ext cx="3806849" cy="3530295"/>
          </a:xfrm>
          <a:custGeom>
            <a:avLst/>
            <a:gdLst>
              <a:gd name="connsiteX0" fmla="*/ 2451578 w 3806849"/>
              <a:gd name="connsiteY0" fmla="*/ 0 h 3530295"/>
              <a:gd name="connsiteX1" fmla="*/ 2667478 w 3806849"/>
              <a:gd name="connsiteY1" fmla="*/ 0 h 3530295"/>
              <a:gd name="connsiteX2" fmla="*/ 215900 w 3806849"/>
              <a:gd name="connsiteY2" fmla="*/ 3530294 h 3530295"/>
              <a:gd name="connsiteX3" fmla="*/ 3806849 w 3806849"/>
              <a:gd name="connsiteY3" fmla="*/ 3530294 h 3530295"/>
              <a:gd name="connsiteX4" fmla="*/ 3806848 w 3806849"/>
              <a:gd name="connsiteY4" fmla="*/ 3530295 h 3530295"/>
              <a:gd name="connsiteX5" fmla="*/ 0 w 3806849"/>
              <a:gd name="connsiteY5" fmla="*/ 3530295 h 353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3530295">
                <a:moveTo>
                  <a:pt x="2451578" y="0"/>
                </a:moveTo>
                <a:lnTo>
                  <a:pt x="2667478" y="0"/>
                </a:lnTo>
                <a:lnTo>
                  <a:pt x="215900" y="3530294"/>
                </a:lnTo>
                <a:lnTo>
                  <a:pt x="3806849" y="3530294"/>
                </a:lnTo>
                <a:lnTo>
                  <a:pt x="3806848" y="3530295"/>
                </a:lnTo>
                <a:lnTo>
                  <a:pt x="0" y="35302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 userDrawn="1"/>
        </p:nvSpPr>
        <p:spPr>
          <a:xfrm>
            <a:off x="2883761" y="2871371"/>
            <a:ext cx="3806849" cy="2272130"/>
          </a:xfrm>
          <a:custGeom>
            <a:avLst/>
            <a:gdLst>
              <a:gd name="connsiteX0" fmla="*/ 1577858 w 3806849"/>
              <a:gd name="connsiteY0" fmla="*/ 0 h 2272130"/>
              <a:gd name="connsiteX1" fmla="*/ 2059598 w 3806849"/>
              <a:gd name="connsiteY1" fmla="*/ 0 h 2272130"/>
              <a:gd name="connsiteX2" fmla="*/ 481740 w 3806849"/>
              <a:gd name="connsiteY2" fmla="*/ 2272129 h 2272130"/>
              <a:gd name="connsiteX3" fmla="*/ 3806849 w 3806849"/>
              <a:gd name="connsiteY3" fmla="*/ 2272129 h 2272130"/>
              <a:gd name="connsiteX4" fmla="*/ 3806848 w 3806849"/>
              <a:gd name="connsiteY4" fmla="*/ 2272130 h 2272130"/>
              <a:gd name="connsiteX5" fmla="*/ 0 w 3806849"/>
              <a:gd name="connsiteY5" fmla="*/ 2272130 h 2272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2272130">
                <a:moveTo>
                  <a:pt x="1577858" y="0"/>
                </a:moveTo>
                <a:lnTo>
                  <a:pt x="2059598" y="0"/>
                </a:lnTo>
                <a:lnTo>
                  <a:pt x="481740" y="2272129"/>
                </a:lnTo>
                <a:lnTo>
                  <a:pt x="3806849" y="2272129"/>
                </a:lnTo>
                <a:lnTo>
                  <a:pt x="3806848" y="2272130"/>
                </a:lnTo>
                <a:lnTo>
                  <a:pt x="0" y="2272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0149" y="1221581"/>
            <a:ext cx="856376" cy="204894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550149" y="1605586"/>
            <a:ext cx="2578101" cy="0"/>
          </a:xfrm>
          <a:prstGeom prst="lin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149" y="1721278"/>
            <a:ext cx="3615451" cy="13849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400" b="1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OLLABERA ENGINEERING SOLUTION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149" y="3264053"/>
            <a:ext cx="3196351" cy="498598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9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quae </a:t>
            </a:r>
            <a:r>
              <a:rPr lang="en-US" dirty="0" err="1"/>
              <a:t>ab</a:t>
            </a:r>
            <a:r>
              <a:rPr lang="en-US" dirty="0"/>
              <a:t>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explicabo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550919" y="-1"/>
            <a:ext cx="5593078" cy="5142291"/>
          </a:xfrm>
          <a:custGeom>
            <a:avLst/>
            <a:gdLst>
              <a:gd name="connsiteX0" fmla="*/ 3513470 w 5593078"/>
              <a:gd name="connsiteY0" fmla="*/ 0 h 5142291"/>
              <a:gd name="connsiteX1" fmla="*/ 5593078 w 5593078"/>
              <a:gd name="connsiteY1" fmla="*/ 0 h 5142291"/>
              <a:gd name="connsiteX2" fmla="*/ 5593078 w 5593078"/>
              <a:gd name="connsiteY2" fmla="*/ 1424535 h 5142291"/>
              <a:gd name="connsiteX3" fmla="*/ 3052921 w 5593078"/>
              <a:gd name="connsiteY3" fmla="*/ 5142291 h 5142291"/>
              <a:gd name="connsiteX4" fmla="*/ 0 w 5593078"/>
              <a:gd name="connsiteY4" fmla="*/ 5142291 h 514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3078" h="5142291">
                <a:moveTo>
                  <a:pt x="3513470" y="0"/>
                </a:moveTo>
                <a:lnTo>
                  <a:pt x="5593078" y="0"/>
                </a:lnTo>
                <a:lnTo>
                  <a:pt x="5593078" y="1424535"/>
                </a:lnTo>
                <a:lnTo>
                  <a:pt x="3052921" y="5142291"/>
                </a:lnTo>
                <a:lnTo>
                  <a:pt x="0" y="514229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3355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3998" cy="5144709"/>
          </a:xfrm>
          <a:prstGeom prst="rect">
            <a:avLst/>
          </a:prstGeom>
        </p:spPr>
      </p:pic>
      <p:sp>
        <p:nvSpPr>
          <p:cNvPr id="26" name="Freeform 25"/>
          <p:cNvSpPr/>
          <p:nvPr userDrawn="1"/>
        </p:nvSpPr>
        <p:spPr>
          <a:xfrm>
            <a:off x="3149601" y="1613206"/>
            <a:ext cx="3806849" cy="3530295"/>
          </a:xfrm>
          <a:custGeom>
            <a:avLst/>
            <a:gdLst>
              <a:gd name="connsiteX0" fmla="*/ 2451578 w 3806849"/>
              <a:gd name="connsiteY0" fmla="*/ 0 h 3530295"/>
              <a:gd name="connsiteX1" fmla="*/ 2667478 w 3806849"/>
              <a:gd name="connsiteY1" fmla="*/ 0 h 3530295"/>
              <a:gd name="connsiteX2" fmla="*/ 215900 w 3806849"/>
              <a:gd name="connsiteY2" fmla="*/ 3530294 h 3530295"/>
              <a:gd name="connsiteX3" fmla="*/ 3806849 w 3806849"/>
              <a:gd name="connsiteY3" fmla="*/ 3530294 h 3530295"/>
              <a:gd name="connsiteX4" fmla="*/ 3806848 w 3806849"/>
              <a:gd name="connsiteY4" fmla="*/ 3530295 h 3530295"/>
              <a:gd name="connsiteX5" fmla="*/ 0 w 3806849"/>
              <a:gd name="connsiteY5" fmla="*/ 3530295 h 353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3530295">
                <a:moveTo>
                  <a:pt x="2451578" y="0"/>
                </a:moveTo>
                <a:lnTo>
                  <a:pt x="2667478" y="0"/>
                </a:lnTo>
                <a:lnTo>
                  <a:pt x="215900" y="3530294"/>
                </a:lnTo>
                <a:lnTo>
                  <a:pt x="3806849" y="3530294"/>
                </a:lnTo>
                <a:lnTo>
                  <a:pt x="3806848" y="3530295"/>
                </a:lnTo>
                <a:lnTo>
                  <a:pt x="0" y="35302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 userDrawn="1"/>
        </p:nvSpPr>
        <p:spPr>
          <a:xfrm>
            <a:off x="2883761" y="2871371"/>
            <a:ext cx="3806849" cy="2272130"/>
          </a:xfrm>
          <a:custGeom>
            <a:avLst/>
            <a:gdLst>
              <a:gd name="connsiteX0" fmla="*/ 1577858 w 3806849"/>
              <a:gd name="connsiteY0" fmla="*/ 0 h 2272130"/>
              <a:gd name="connsiteX1" fmla="*/ 2059598 w 3806849"/>
              <a:gd name="connsiteY1" fmla="*/ 0 h 2272130"/>
              <a:gd name="connsiteX2" fmla="*/ 481740 w 3806849"/>
              <a:gd name="connsiteY2" fmla="*/ 2272129 h 2272130"/>
              <a:gd name="connsiteX3" fmla="*/ 3806849 w 3806849"/>
              <a:gd name="connsiteY3" fmla="*/ 2272129 h 2272130"/>
              <a:gd name="connsiteX4" fmla="*/ 3806848 w 3806849"/>
              <a:gd name="connsiteY4" fmla="*/ 2272130 h 2272130"/>
              <a:gd name="connsiteX5" fmla="*/ 0 w 3806849"/>
              <a:gd name="connsiteY5" fmla="*/ 2272130 h 2272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6849" h="2272130">
                <a:moveTo>
                  <a:pt x="1577858" y="0"/>
                </a:moveTo>
                <a:lnTo>
                  <a:pt x="2059598" y="0"/>
                </a:lnTo>
                <a:lnTo>
                  <a:pt x="481740" y="2272129"/>
                </a:lnTo>
                <a:lnTo>
                  <a:pt x="3806849" y="2272129"/>
                </a:lnTo>
                <a:lnTo>
                  <a:pt x="3806848" y="2272130"/>
                </a:lnTo>
                <a:lnTo>
                  <a:pt x="0" y="2272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149" y="1435396"/>
            <a:ext cx="2917372" cy="97462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ts val="3800"/>
              </a:lnSpc>
              <a:spcBef>
                <a:spcPts val="0"/>
              </a:spcBef>
              <a:buNone/>
              <a:defRPr sz="4400" b="1">
                <a:solidFill>
                  <a:schemeClr val="accent3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Closing</a:t>
            </a:r>
          </a:p>
          <a:p>
            <a:pPr lvl="0"/>
            <a:r>
              <a:rPr lang="en-US" dirty="0"/>
              <a:t>Argumen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149" y="2583180"/>
            <a:ext cx="2917372" cy="761747"/>
          </a:xfrm>
          <a:prstGeom prst="rect">
            <a:avLst/>
          </a:prstGeom>
        </p:spPr>
        <p:txBody>
          <a:bodyPr wrap="square" lIns="0" tIns="0" bIns="0" anchor="t">
            <a:spAutoFit/>
          </a:bodyPr>
          <a:lstStyle>
            <a:lvl1pPr marL="0" indent="0">
              <a:spcBef>
                <a:spcPts val="800"/>
              </a:spcBef>
              <a:buNone/>
              <a:defRPr sz="11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</a:t>
            </a:r>
            <a:endParaRPr lang="en-US" dirty="0"/>
          </a:p>
        </p:txBody>
      </p:sp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550863" y="3578236"/>
            <a:ext cx="947737" cy="133557"/>
            <a:chOff x="347" y="2254"/>
            <a:chExt cx="738" cy="104"/>
          </a:xfrm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767" y="2265"/>
              <a:ext cx="98" cy="82"/>
            </a:xfrm>
            <a:custGeom>
              <a:avLst/>
              <a:gdLst>
                <a:gd name="T0" fmla="*/ 0 w 132"/>
                <a:gd name="T1" fmla="*/ 95 h 107"/>
                <a:gd name="T2" fmla="*/ 42 w 132"/>
                <a:gd name="T3" fmla="*/ 107 h 107"/>
                <a:gd name="T4" fmla="*/ 118 w 132"/>
                <a:gd name="T5" fmla="*/ 26 h 107"/>
                <a:gd name="T6" fmla="*/ 132 w 132"/>
                <a:gd name="T7" fmla="*/ 12 h 107"/>
                <a:gd name="T8" fmla="*/ 116 w 132"/>
                <a:gd name="T9" fmla="*/ 17 h 107"/>
                <a:gd name="T10" fmla="*/ 128 w 132"/>
                <a:gd name="T11" fmla="*/ 2 h 107"/>
                <a:gd name="T12" fmla="*/ 111 w 132"/>
                <a:gd name="T13" fmla="*/ 8 h 107"/>
                <a:gd name="T14" fmla="*/ 91 w 132"/>
                <a:gd name="T15" fmla="*/ 0 h 107"/>
                <a:gd name="T16" fmla="*/ 64 w 132"/>
                <a:gd name="T17" fmla="*/ 27 h 107"/>
                <a:gd name="T18" fmla="*/ 65 w 132"/>
                <a:gd name="T19" fmla="*/ 33 h 107"/>
                <a:gd name="T20" fmla="*/ 9 w 132"/>
                <a:gd name="T21" fmla="*/ 5 h 107"/>
                <a:gd name="T22" fmla="*/ 18 w 132"/>
                <a:gd name="T23" fmla="*/ 41 h 107"/>
                <a:gd name="T24" fmla="*/ 5 w 132"/>
                <a:gd name="T25" fmla="*/ 37 h 107"/>
                <a:gd name="T26" fmla="*/ 27 w 132"/>
                <a:gd name="T27" fmla="*/ 64 h 107"/>
                <a:gd name="T28" fmla="*/ 15 w 132"/>
                <a:gd name="T29" fmla="*/ 65 h 107"/>
                <a:gd name="T30" fmla="*/ 40 w 132"/>
                <a:gd name="T31" fmla="*/ 84 h 107"/>
                <a:gd name="T32" fmla="*/ 0 w 132"/>
                <a:gd name="T33" fmla="*/ 9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107">
                  <a:moveTo>
                    <a:pt x="0" y="95"/>
                  </a:moveTo>
                  <a:cubicBezTo>
                    <a:pt x="12" y="103"/>
                    <a:pt x="27" y="107"/>
                    <a:pt x="42" y="107"/>
                  </a:cubicBezTo>
                  <a:cubicBezTo>
                    <a:pt x="92" y="107"/>
                    <a:pt x="120" y="65"/>
                    <a:pt x="118" y="26"/>
                  </a:cubicBezTo>
                  <a:cubicBezTo>
                    <a:pt x="124" y="23"/>
                    <a:pt x="128" y="18"/>
                    <a:pt x="132" y="12"/>
                  </a:cubicBezTo>
                  <a:cubicBezTo>
                    <a:pt x="127" y="15"/>
                    <a:pt x="122" y="16"/>
                    <a:pt x="116" y="17"/>
                  </a:cubicBezTo>
                  <a:cubicBezTo>
                    <a:pt x="122" y="13"/>
                    <a:pt x="126" y="8"/>
                    <a:pt x="128" y="2"/>
                  </a:cubicBezTo>
                  <a:cubicBezTo>
                    <a:pt x="123" y="5"/>
                    <a:pt x="117" y="7"/>
                    <a:pt x="111" y="8"/>
                  </a:cubicBezTo>
                  <a:cubicBezTo>
                    <a:pt x="106" y="3"/>
                    <a:pt x="99" y="0"/>
                    <a:pt x="91" y="0"/>
                  </a:cubicBezTo>
                  <a:cubicBezTo>
                    <a:pt x="76" y="0"/>
                    <a:pt x="64" y="12"/>
                    <a:pt x="64" y="27"/>
                  </a:cubicBezTo>
                  <a:cubicBezTo>
                    <a:pt x="64" y="29"/>
                    <a:pt x="65" y="31"/>
                    <a:pt x="65" y="33"/>
                  </a:cubicBezTo>
                  <a:cubicBezTo>
                    <a:pt x="43" y="32"/>
                    <a:pt x="23" y="22"/>
                    <a:pt x="9" y="5"/>
                  </a:cubicBezTo>
                  <a:cubicBezTo>
                    <a:pt x="2" y="17"/>
                    <a:pt x="6" y="33"/>
                    <a:pt x="18" y="41"/>
                  </a:cubicBezTo>
                  <a:cubicBezTo>
                    <a:pt x="13" y="41"/>
                    <a:pt x="9" y="40"/>
                    <a:pt x="5" y="37"/>
                  </a:cubicBezTo>
                  <a:cubicBezTo>
                    <a:pt x="5" y="50"/>
                    <a:pt x="14" y="62"/>
                    <a:pt x="27" y="64"/>
                  </a:cubicBezTo>
                  <a:cubicBezTo>
                    <a:pt x="23" y="65"/>
                    <a:pt x="19" y="66"/>
                    <a:pt x="15" y="65"/>
                  </a:cubicBezTo>
                  <a:cubicBezTo>
                    <a:pt x="18" y="76"/>
                    <a:pt x="29" y="83"/>
                    <a:pt x="40" y="84"/>
                  </a:cubicBezTo>
                  <a:cubicBezTo>
                    <a:pt x="29" y="92"/>
                    <a:pt x="14" y="97"/>
                    <a:pt x="0" y="95"/>
                  </a:cubicBez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347" y="2254"/>
              <a:ext cx="48" cy="104"/>
            </a:xfrm>
            <a:custGeom>
              <a:avLst/>
              <a:gdLst>
                <a:gd name="T0" fmla="*/ 15 w 64"/>
                <a:gd name="T1" fmla="*/ 137 h 137"/>
                <a:gd name="T2" fmla="*/ 42 w 64"/>
                <a:gd name="T3" fmla="*/ 137 h 137"/>
                <a:gd name="T4" fmla="*/ 42 w 64"/>
                <a:gd name="T5" fmla="*/ 68 h 137"/>
                <a:gd name="T6" fmla="*/ 61 w 64"/>
                <a:gd name="T7" fmla="*/ 68 h 137"/>
                <a:gd name="T8" fmla="*/ 64 w 64"/>
                <a:gd name="T9" fmla="*/ 45 h 137"/>
                <a:gd name="T10" fmla="*/ 42 w 64"/>
                <a:gd name="T11" fmla="*/ 45 h 137"/>
                <a:gd name="T12" fmla="*/ 42 w 64"/>
                <a:gd name="T13" fmla="*/ 31 h 137"/>
                <a:gd name="T14" fmla="*/ 49 w 64"/>
                <a:gd name="T15" fmla="*/ 24 h 137"/>
                <a:gd name="T16" fmla="*/ 64 w 64"/>
                <a:gd name="T17" fmla="*/ 24 h 137"/>
                <a:gd name="T18" fmla="*/ 64 w 64"/>
                <a:gd name="T19" fmla="*/ 0 h 137"/>
                <a:gd name="T20" fmla="*/ 44 w 64"/>
                <a:gd name="T21" fmla="*/ 0 h 137"/>
                <a:gd name="T22" fmla="*/ 15 w 64"/>
                <a:gd name="T23" fmla="*/ 26 h 137"/>
                <a:gd name="T24" fmla="*/ 15 w 64"/>
                <a:gd name="T25" fmla="*/ 45 h 137"/>
                <a:gd name="T26" fmla="*/ 0 w 64"/>
                <a:gd name="T27" fmla="*/ 45 h 137"/>
                <a:gd name="T28" fmla="*/ 0 w 64"/>
                <a:gd name="T29" fmla="*/ 68 h 137"/>
                <a:gd name="T30" fmla="*/ 15 w 64"/>
                <a:gd name="T31" fmla="*/ 68 h 137"/>
                <a:gd name="T32" fmla="*/ 15 w 64"/>
                <a:gd name="T3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137">
                  <a:moveTo>
                    <a:pt x="15" y="137"/>
                  </a:moveTo>
                  <a:cubicBezTo>
                    <a:pt x="42" y="137"/>
                    <a:pt x="42" y="137"/>
                    <a:pt x="42" y="137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61" y="68"/>
                    <a:pt x="61" y="68"/>
                    <a:pt x="61" y="68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26"/>
                    <a:pt x="43" y="24"/>
                    <a:pt x="49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24" y="0"/>
                    <a:pt x="15" y="9"/>
                    <a:pt x="15" y="26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15" y="68"/>
                    <a:pt x="15" y="68"/>
                    <a:pt x="15" y="68"/>
                  </a:cubicBezTo>
                  <a:lnTo>
                    <a:pt x="15" y="137"/>
                  </a:ln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 noEditPoints="1"/>
            </p:cNvSpPr>
            <p:nvPr userDrawn="1"/>
          </p:nvSpPr>
          <p:spPr bwMode="auto">
            <a:xfrm>
              <a:off x="543" y="2254"/>
              <a:ext cx="101" cy="103"/>
            </a:xfrm>
            <a:custGeom>
              <a:avLst/>
              <a:gdLst>
                <a:gd name="T0" fmla="*/ 68 w 136"/>
                <a:gd name="T1" fmla="*/ 12 h 135"/>
                <a:gd name="T2" fmla="*/ 95 w 136"/>
                <a:gd name="T3" fmla="*/ 12 h 135"/>
                <a:gd name="T4" fmla="*/ 108 w 136"/>
                <a:gd name="T5" fmla="*/ 15 h 135"/>
                <a:gd name="T6" fmla="*/ 116 w 136"/>
                <a:gd name="T7" fmla="*/ 20 h 135"/>
                <a:gd name="T8" fmla="*/ 121 w 136"/>
                <a:gd name="T9" fmla="*/ 27 h 135"/>
                <a:gd name="T10" fmla="*/ 123 w 136"/>
                <a:gd name="T11" fmla="*/ 40 h 135"/>
                <a:gd name="T12" fmla="*/ 124 w 136"/>
                <a:gd name="T13" fmla="*/ 67 h 135"/>
                <a:gd name="T14" fmla="*/ 123 w 136"/>
                <a:gd name="T15" fmla="*/ 95 h 135"/>
                <a:gd name="T16" fmla="*/ 121 w 136"/>
                <a:gd name="T17" fmla="*/ 107 h 135"/>
                <a:gd name="T18" fmla="*/ 116 w 136"/>
                <a:gd name="T19" fmla="*/ 115 h 135"/>
                <a:gd name="T20" fmla="*/ 108 w 136"/>
                <a:gd name="T21" fmla="*/ 120 h 135"/>
                <a:gd name="T22" fmla="*/ 95 w 136"/>
                <a:gd name="T23" fmla="*/ 123 h 135"/>
                <a:gd name="T24" fmla="*/ 68 w 136"/>
                <a:gd name="T25" fmla="*/ 123 h 135"/>
                <a:gd name="T26" fmla="*/ 41 w 136"/>
                <a:gd name="T27" fmla="*/ 123 h 135"/>
                <a:gd name="T28" fmla="*/ 28 w 136"/>
                <a:gd name="T29" fmla="*/ 120 h 135"/>
                <a:gd name="T30" fmla="*/ 20 w 136"/>
                <a:gd name="T31" fmla="*/ 115 h 135"/>
                <a:gd name="T32" fmla="*/ 15 w 136"/>
                <a:gd name="T33" fmla="*/ 107 h 135"/>
                <a:gd name="T34" fmla="*/ 13 w 136"/>
                <a:gd name="T35" fmla="*/ 95 h 135"/>
                <a:gd name="T36" fmla="*/ 12 w 136"/>
                <a:gd name="T37" fmla="*/ 67 h 135"/>
                <a:gd name="T38" fmla="*/ 13 w 136"/>
                <a:gd name="T39" fmla="*/ 40 h 135"/>
                <a:gd name="T40" fmla="*/ 15 w 136"/>
                <a:gd name="T41" fmla="*/ 27 h 135"/>
                <a:gd name="T42" fmla="*/ 20 w 136"/>
                <a:gd name="T43" fmla="*/ 20 h 135"/>
                <a:gd name="T44" fmla="*/ 28 w 136"/>
                <a:gd name="T45" fmla="*/ 15 h 135"/>
                <a:gd name="T46" fmla="*/ 41 w 136"/>
                <a:gd name="T47" fmla="*/ 12 h 135"/>
                <a:gd name="T48" fmla="*/ 68 w 136"/>
                <a:gd name="T49" fmla="*/ 12 h 135"/>
                <a:gd name="T50" fmla="*/ 68 w 136"/>
                <a:gd name="T51" fmla="*/ 0 h 135"/>
                <a:gd name="T52" fmla="*/ 40 w 136"/>
                <a:gd name="T53" fmla="*/ 0 h 135"/>
                <a:gd name="T54" fmla="*/ 24 w 136"/>
                <a:gd name="T55" fmla="*/ 3 h 135"/>
                <a:gd name="T56" fmla="*/ 12 w 136"/>
                <a:gd name="T57" fmla="*/ 11 h 135"/>
                <a:gd name="T58" fmla="*/ 4 w 136"/>
                <a:gd name="T59" fmla="*/ 23 h 135"/>
                <a:gd name="T60" fmla="*/ 1 w 136"/>
                <a:gd name="T61" fmla="*/ 39 h 135"/>
                <a:gd name="T62" fmla="*/ 0 w 136"/>
                <a:gd name="T63" fmla="*/ 67 h 135"/>
                <a:gd name="T64" fmla="*/ 1 w 136"/>
                <a:gd name="T65" fmla="*/ 95 h 135"/>
                <a:gd name="T66" fmla="*/ 4 w 136"/>
                <a:gd name="T67" fmla="*/ 112 h 135"/>
                <a:gd name="T68" fmla="*/ 12 w 136"/>
                <a:gd name="T69" fmla="*/ 124 h 135"/>
                <a:gd name="T70" fmla="*/ 24 w 136"/>
                <a:gd name="T71" fmla="*/ 132 h 135"/>
                <a:gd name="T72" fmla="*/ 40 w 136"/>
                <a:gd name="T73" fmla="*/ 135 h 135"/>
                <a:gd name="T74" fmla="*/ 68 w 136"/>
                <a:gd name="T75" fmla="*/ 135 h 135"/>
                <a:gd name="T76" fmla="*/ 96 w 136"/>
                <a:gd name="T77" fmla="*/ 135 h 135"/>
                <a:gd name="T78" fmla="*/ 112 w 136"/>
                <a:gd name="T79" fmla="*/ 132 h 135"/>
                <a:gd name="T80" fmla="*/ 124 w 136"/>
                <a:gd name="T81" fmla="*/ 124 h 135"/>
                <a:gd name="T82" fmla="*/ 132 w 136"/>
                <a:gd name="T83" fmla="*/ 112 h 135"/>
                <a:gd name="T84" fmla="*/ 135 w 136"/>
                <a:gd name="T85" fmla="*/ 95 h 135"/>
                <a:gd name="T86" fmla="*/ 136 w 136"/>
                <a:gd name="T87" fmla="*/ 67 h 135"/>
                <a:gd name="T88" fmla="*/ 135 w 136"/>
                <a:gd name="T89" fmla="*/ 39 h 135"/>
                <a:gd name="T90" fmla="*/ 132 w 136"/>
                <a:gd name="T91" fmla="*/ 23 h 135"/>
                <a:gd name="T92" fmla="*/ 124 w 136"/>
                <a:gd name="T93" fmla="*/ 11 h 135"/>
                <a:gd name="T94" fmla="*/ 112 w 136"/>
                <a:gd name="T95" fmla="*/ 3 h 135"/>
                <a:gd name="T96" fmla="*/ 96 w 136"/>
                <a:gd name="T97" fmla="*/ 0 h 135"/>
                <a:gd name="T98" fmla="*/ 68 w 136"/>
                <a:gd name="T99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6" h="135">
                  <a:moveTo>
                    <a:pt x="68" y="12"/>
                  </a:moveTo>
                  <a:cubicBezTo>
                    <a:pt x="86" y="12"/>
                    <a:pt x="88" y="12"/>
                    <a:pt x="95" y="12"/>
                  </a:cubicBezTo>
                  <a:cubicBezTo>
                    <a:pt x="100" y="12"/>
                    <a:pt x="104" y="13"/>
                    <a:pt x="108" y="15"/>
                  </a:cubicBezTo>
                  <a:cubicBezTo>
                    <a:pt x="111" y="16"/>
                    <a:pt x="114" y="17"/>
                    <a:pt x="116" y="20"/>
                  </a:cubicBezTo>
                  <a:cubicBezTo>
                    <a:pt x="118" y="22"/>
                    <a:pt x="120" y="24"/>
                    <a:pt x="121" y="27"/>
                  </a:cubicBezTo>
                  <a:cubicBezTo>
                    <a:pt x="122" y="31"/>
                    <a:pt x="123" y="36"/>
                    <a:pt x="123" y="40"/>
                  </a:cubicBezTo>
                  <a:cubicBezTo>
                    <a:pt x="124" y="47"/>
                    <a:pt x="124" y="49"/>
                    <a:pt x="124" y="67"/>
                  </a:cubicBezTo>
                  <a:cubicBezTo>
                    <a:pt x="124" y="85"/>
                    <a:pt x="124" y="88"/>
                    <a:pt x="123" y="95"/>
                  </a:cubicBezTo>
                  <a:cubicBezTo>
                    <a:pt x="123" y="99"/>
                    <a:pt x="122" y="103"/>
                    <a:pt x="121" y="107"/>
                  </a:cubicBezTo>
                  <a:cubicBezTo>
                    <a:pt x="120" y="110"/>
                    <a:pt x="118" y="113"/>
                    <a:pt x="116" y="115"/>
                  </a:cubicBezTo>
                  <a:cubicBezTo>
                    <a:pt x="114" y="117"/>
                    <a:pt x="111" y="119"/>
                    <a:pt x="108" y="120"/>
                  </a:cubicBezTo>
                  <a:cubicBezTo>
                    <a:pt x="104" y="122"/>
                    <a:pt x="100" y="123"/>
                    <a:pt x="95" y="123"/>
                  </a:cubicBezTo>
                  <a:cubicBezTo>
                    <a:pt x="88" y="123"/>
                    <a:pt x="86" y="123"/>
                    <a:pt x="68" y="123"/>
                  </a:cubicBezTo>
                  <a:cubicBezTo>
                    <a:pt x="50" y="123"/>
                    <a:pt x="48" y="123"/>
                    <a:pt x="41" y="123"/>
                  </a:cubicBezTo>
                  <a:cubicBezTo>
                    <a:pt x="36" y="123"/>
                    <a:pt x="32" y="122"/>
                    <a:pt x="28" y="120"/>
                  </a:cubicBezTo>
                  <a:cubicBezTo>
                    <a:pt x="25" y="119"/>
                    <a:pt x="22" y="117"/>
                    <a:pt x="20" y="115"/>
                  </a:cubicBezTo>
                  <a:cubicBezTo>
                    <a:pt x="18" y="113"/>
                    <a:pt x="16" y="110"/>
                    <a:pt x="15" y="107"/>
                  </a:cubicBezTo>
                  <a:cubicBezTo>
                    <a:pt x="14" y="103"/>
                    <a:pt x="13" y="99"/>
                    <a:pt x="13" y="95"/>
                  </a:cubicBezTo>
                  <a:cubicBezTo>
                    <a:pt x="12" y="88"/>
                    <a:pt x="12" y="86"/>
                    <a:pt x="12" y="67"/>
                  </a:cubicBezTo>
                  <a:cubicBezTo>
                    <a:pt x="12" y="49"/>
                    <a:pt x="12" y="47"/>
                    <a:pt x="13" y="40"/>
                  </a:cubicBezTo>
                  <a:cubicBezTo>
                    <a:pt x="13" y="36"/>
                    <a:pt x="14" y="31"/>
                    <a:pt x="15" y="27"/>
                  </a:cubicBezTo>
                  <a:cubicBezTo>
                    <a:pt x="16" y="24"/>
                    <a:pt x="18" y="22"/>
                    <a:pt x="20" y="20"/>
                  </a:cubicBezTo>
                  <a:cubicBezTo>
                    <a:pt x="22" y="17"/>
                    <a:pt x="25" y="16"/>
                    <a:pt x="28" y="15"/>
                  </a:cubicBezTo>
                  <a:cubicBezTo>
                    <a:pt x="32" y="13"/>
                    <a:pt x="36" y="12"/>
                    <a:pt x="41" y="12"/>
                  </a:cubicBezTo>
                  <a:cubicBezTo>
                    <a:pt x="48" y="12"/>
                    <a:pt x="50" y="12"/>
                    <a:pt x="68" y="12"/>
                  </a:cubicBezTo>
                  <a:moveTo>
                    <a:pt x="68" y="0"/>
                  </a:moveTo>
                  <a:cubicBezTo>
                    <a:pt x="50" y="0"/>
                    <a:pt x="47" y="0"/>
                    <a:pt x="40" y="0"/>
                  </a:cubicBezTo>
                  <a:cubicBezTo>
                    <a:pt x="34" y="0"/>
                    <a:pt x="29" y="1"/>
                    <a:pt x="24" y="3"/>
                  </a:cubicBezTo>
                  <a:cubicBezTo>
                    <a:pt x="19" y="5"/>
                    <a:pt x="15" y="7"/>
                    <a:pt x="12" y="11"/>
                  </a:cubicBezTo>
                  <a:cubicBezTo>
                    <a:pt x="8" y="14"/>
                    <a:pt x="5" y="18"/>
                    <a:pt x="4" y="23"/>
                  </a:cubicBezTo>
                  <a:cubicBezTo>
                    <a:pt x="2" y="28"/>
                    <a:pt x="1" y="34"/>
                    <a:pt x="1" y="39"/>
                  </a:cubicBezTo>
                  <a:cubicBezTo>
                    <a:pt x="0" y="47"/>
                    <a:pt x="0" y="49"/>
                    <a:pt x="0" y="67"/>
                  </a:cubicBezTo>
                  <a:cubicBezTo>
                    <a:pt x="0" y="86"/>
                    <a:pt x="0" y="88"/>
                    <a:pt x="1" y="95"/>
                  </a:cubicBezTo>
                  <a:cubicBezTo>
                    <a:pt x="1" y="101"/>
                    <a:pt x="2" y="107"/>
                    <a:pt x="4" y="112"/>
                  </a:cubicBezTo>
                  <a:cubicBezTo>
                    <a:pt x="5" y="116"/>
                    <a:pt x="8" y="120"/>
                    <a:pt x="12" y="124"/>
                  </a:cubicBezTo>
                  <a:cubicBezTo>
                    <a:pt x="15" y="127"/>
                    <a:pt x="19" y="130"/>
                    <a:pt x="24" y="132"/>
                  </a:cubicBezTo>
                  <a:cubicBezTo>
                    <a:pt x="29" y="134"/>
                    <a:pt x="34" y="135"/>
                    <a:pt x="40" y="135"/>
                  </a:cubicBezTo>
                  <a:cubicBezTo>
                    <a:pt x="47" y="135"/>
                    <a:pt x="50" y="135"/>
                    <a:pt x="68" y="135"/>
                  </a:cubicBezTo>
                  <a:cubicBezTo>
                    <a:pt x="86" y="135"/>
                    <a:pt x="89" y="135"/>
                    <a:pt x="96" y="135"/>
                  </a:cubicBezTo>
                  <a:cubicBezTo>
                    <a:pt x="102" y="135"/>
                    <a:pt x="107" y="134"/>
                    <a:pt x="112" y="132"/>
                  </a:cubicBezTo>
                  <a:cubicBezTo>
                    <a:pt x="117" y="130"/>
                    <a:pt x="121" y="127"/>
                    <a:pt x="124" y="124"/>
                  </a:cubicBezTo>
                  <a:cubicBezTo>
                    <a:pt x="128" y="120"/>
                    <a:pt x="131" y="116"/>
                    <a:pt x="132" y="112"/>
                  </a:cubicBezTo>
                  <a:cubicBezTo>
                    <a:pt x="134" y="107"/>
                    <a:pt x="135" y="101"/>
                    <a:pt x="135" y="95"/>
                  </a:cubicBezTo>
                  <a:cubicBezTo>
                    <a:pt x="136" y="88"/>
                    <a:pt x="136" y="86"/>
                    <a:pt x="136" y="67"/>
                  </a:cubicBezTo>
                  <a:cubicBezTo>
                    <a:pt x="136" y="49"/>
                    <a:pt x="136" y="47"/>
                    <a:pt x="135" y="39"/>
                  </a:cubicBezTo>
                  <a:cubicBezTo>
                    <a:pt x="135" y="34"/>
                    <a:pt x="134" y="28"/>
                    <a:pt x="132" y="23"/>
                  </a:cubicBezTo>
                  <a:cubicBezTo>
                    <a:pt x="131" y="18"/>
                    <a:pt x="128" y="14"/>
                    <a:pt x="124" y="11"/>
                  </a:cubicBezTo>
                  <a:cubicBezTo>
                    <a:pt x="121" y="7"/>
                    <a:pt x="117" y="5"/>
                    <a:pt x="112" y="3"/>
                  </a:cubicBezTo>
                  <a:cubicBezTo>
                    <a:pt x="107" y="1"/>
                    <a:pt x="102" y="0"/>
                    <a:pt x="96" y="0"/>
                  </a:cubicBezTo>
                  <a:cubicBezTo>
                    <a:pt x="89" y="0"/>
                    <a:pt x="86" y="0"/>
                    <a:pt x="68" y="0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567" y="2280"/>
              <a:ext cx="53" cy="52"/>
            </a:xfrm>
            <a:custGeom>
              <a:avLst/>
              <a:gdLst>
                <a:gd name="T0" fmla="*/ 35 w 70"/>
                <a:gd name="T1" fmla="*/ 0 h 69"/>
                <a:gd name="T2" fmla="*/ 0 w 70"/>
                <a:gd name="T3" fmla="*/ 34 h 69"/>
                <a:gd name="T4" fmla="*/ 0 w 70"/>
                <a:gd name="T5" fmla="*/ 34 h 69"/>
                <a:gd name="T6" fmla="*/ 35 w 70"/>
                <a:gd name="T7" fmla="*/ 69 h 69"/>
                <a:gd name="T8" fmla="*/ 35 w 70"/>
                <a:gd name="T9" fmla="*/ 69 h 69"/>
                <a:gd name="T10" fmla="*/ 70 w 70"/>
                <a:gd name="T11" fmla="*/ 34 h 69"/>
                <a:gd name="T12" fmla="*/ 35 w 70"/>
                <a:gd name="T13" fmla="*/ 0 h 69"/>
                <a:gd name="T14" fmla="*/ 35 w 70"/>
                <a:gd name="T15" fmla="*/ 0 h 69"/>
                <a:gd name="T16" fmla="*/ 35 w 70"/>
                <a:gd name="T17" fmla="*/ 57 h 69"/>
                <a:gd name="T18" fmla="*/ 12 w 70"/>
                <a:gd name="T19" fmla="*/ 34 h 69"/>
                <a:gd name="T20" fmla="*/ 35 w 70"/>
                <a:gd name="T21" fmla="*/ 12 h 69"/>
                <a:gd name="T22" fmla="*/ 35 w 70"/>
                <a:gd name="T23" fmla="*/ 12 h 69"/>
                <a:gd name="T24" fmla="*/ 58 w 70"/>
                <a:gd name="T25" fmla="*/ 34 h 69"/>
                <a:gd name="T26" fmla="*/ 35 w 70"/>
                <a:gd name="T27" fmla="*/ 5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69">
                  <a:moveTo>
                    <a:pt x="35" y="0"/>
                  </a:moveTo>
                  <a:cubicBezTo>
                    <a:pt x="16" y="0"/>
                    <a:pt x="0" y="15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54"/>
                    <a:pt x="16" y="69"/>
                    <a:pt x="35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54" y="69"/>
                    <a:pt x="70" y="54"/>
                    <a:pt x="70" y="34"/>
                  </a:cubicBezTo>
                  <a:cubicBezTo>
                    <a:pt x="70" y="15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moveTo>
                    <a:pt x="35" y="57"/>
                  </a:moveTo>
                  <a:cubicBezTo>
                    <a:pt x="22" y="57"/>
                    <a:pt x="12" y="47"/>
                    <a:pt x="12" y="34"/>
                  </a:cubicBezTo>
                  <a:cubicBezTo>
                    <a:pt x="12" y="22"/>
                    <a:pt x="22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47" y="12"/>
                    <a:pt x="58" y="22"/>
                    <a:pt x="58" y="34"/>
                  </a:cubicBezTo>
                  <a:cubicBezTo>
                    <a:pt x="58" y="47"/>
                    <a:pt x="47" y="57"/>
                    <a:pt x="35" y="57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614" y="2272"/>
              <a:ext cx="12" cy="12"/>
            </a:xfrm>
            <a:custGeom>
              <a:avLst/>
              <a:gdLst>
                <a:gd name="T0" fmla="*/ 16 w 16"/>
                <a:gd name="T1" fmla="*/ 8 h 16"/>
                <a:gd name="T2" fmla="*/ 8 w 16"/>
                <a:gd name="T3" fmla="*/ 16 h 16"/>
                <a:gd name="T4" fmla="*/ 8 w 16"/>
                <a:gd name="T5" fmla="*/ 16 h 16"/>
                <a:gd name="T6" fmla="*/ 0 w 16"/>
                <a:gd name="T7" fmla="*/ 8 h 16"/>
                <a:gd name="T8" fmla="*/ 8 w 16"/>
                <a:gd name="T9" fmla="*/ 0 h 16"/>
                <a:gd name="T10" fmla="*/ 16 w 16"/>
                <a:gd name="T11" fmla="*/ 8 h 16"/>
                <a:gd name="T12" fmla="*/ 16 w 16"/>
                <a:gd name="T13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6" y="8"/>
                  </a:moveTo>
                  <a:cubicBezTo>
                    <a:pt x="16" y="13"/>
                    <a:pt x="13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4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994" y="2290"/>
              <a:ext cx="19" cy="63"/>
            </a:xfrm>
            <a:prstGeom prst="rect">
              <a:avLst/>
            </a:pr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992" y="2258"/>
              <a:ext cx="23" cy="24"/>
            </a:xfrm>
            <a:custGeom>
              <a:avLst/>
              <a:gdLst>
                <a:gd name="T0" fmla="*/ 15 w 30"/>
                <a:gd name="T1" fmla="*/ 31 h 31"/>
                <a:gd name="T2" fmla="*/ 30 w 30"/>
                <a:gd name="T3" fmla="*/ 16 h 31"/>
                <a:gd name="T4" fmla="*/ 30 w 30"/>
                <a:gd name="T5" fmla="*/ 16 h 31"/>
                <a:gd name="T6" fmla="*/ 15 w 30"/>
                <a:gd name="T7" fmla="*/ 0 h 31"/>
                <a:gd name="T8" fmla="*/ 15 w 30"/>
                <a:gd name="T9" fmla="*/ 0 h 31"/>
                <a:gd name="T10" fmla="*/ 0 w 30"/>
                <a:gd name="T11" fmla="*/ 16 h 31"/>
                <a:gd name="T12" fmla="*/ 0 w 30"/>
                <a:gd name="T13" fmla="*/ 16 h 31"/>
                <a:gd name="T14" fmla="*/ 15 w 30"/>
                <a:gd name="T15" fmla="*/ 31 h 31"/>
                <a:gd name="T16" fmla="*/ 15 w 30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24" y="31"/>
                    <a:pt x="30" y="24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7"/>
                    <a:pt x="24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7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025" y="2288"/>
              <a:ext cx="60" cy="65"/>
            </a:xfrm>
            <a:custGeom>
              <a:avLst/>
              <a:gdLst>
                <a:gd name="T0" fmla="*/ 25 w 80"/>
                <a:gd name="T1" fmla="*/ 42 h 85"/>
                <a:gd name="T2" fmla="*/ 41 w 80"/>
                <a:gd name="T3" fmla="*/ 23 h 85"/>
                <a:gd name="T4" fmla="*/ 55 w 80"/>
                <a:gd name="T5" fmla="*/ 42 h 85"/>
                <a:gd name="T6" fmla="*/ 55 w 80"/>
                <a:gd name="T7" fmla="*/ 85 h 85"/>
                <a:gd name="T8" fmla="*/ 80 w 80"/>
                <a:gd name="T9" fmla="*/ 85 h 85"/>
                <a:gd name="T10" fmla="*/ 80 w 80"/>
                <a:gd name="T11" fmla="*/ 33 h 85"/>
                <a:gd name="T12" fmla="*/ 50 w 80"/>
                <a:gd name="T13" fmla="*/ 0 h 85"/>
                <a:gd name="T14" fmla="*/ 25 w 80"/>
                <a:gd name="T15" fmla="*/ 14 h 85"/>
                <a:gd name="T16" fmla="*/ 25 w 80"/>
                <a:gd name="T17" fmla="*/ 3 h 85"/>
                <a:gd name="T18" fmla="*/ 0 w 80"/>
                <a:gd name="T19" fmla="*/ 3 h 85"/>
                <a:gd name="T20" fmla="*/ 0 w 80"/>
                <a:gd name="T21" fmla="*/ 85 h 85"/>
                <a:gd name="T22" fmla="*/ 25 w 80"/>
                <a:gd name="T23" fmla="*/ 85 h 85"/>
                <a:gd name="T24" fmla="*/ 25 w 80"/>
                <a:gd name="T25" fmla="*/ 4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85">
                  <a:moveTo>
                    <a:pt x="25" y="42"/>
                  </a:moveTo>
                  <a:cubicBezTo>
                    <a:pt x="25" y="30"/>
                    <a:pt x="30" y="23"/>
                    <a:pt x="41" y="23"/>
                  </a:cubicBezTo>
                  <a:cubicBezTo>
                    <a:pt x="50" y="23"/>
                    <a:pt x="55" y="30"/>
                    <a:pt x="55" y="42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80" y="33"/>
                    <a:pt x="80" y="33"/>
                    <a:pt x="80" y="33"/>
                  </a:cubicBezTo>
                  <a:cubicBezTo>
                    <a:pt x="80" y="11"/>
                    <a:pt x="68" y="0"/>
                    <a:pt x="50" y="0"/>
                  </a:cubicBezTo>
                  <a:cubicBezTo>
                    <a:pt x="40" y="0"/>
                    <a:pt x="30" y="5"/>
                    <a:pt x="25" y="14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25" y="85"/>
                    <a:pt x="25" y="85"/>
                    <a:pt x="25" y="85"/>
                  </a:cubicBezTo>
                  <a:lnTo>
                    <a:pt x="25" y="42"/>
                  </a:lnTo>
                  <a:close/>
                </a:path>
              </a:pathLst>
            </a:custGeom>
            <a:solidFill>
              <a:srgbClr val="CA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22" name="Picture Placeholder 21"/>
          <p:cNvSpPr>
            <a:spLocks noGrp="1"/>
          </p:cNvSpPr>
          <p:nvPr>
            <p:ph type="pic" sz="quarter" idx="13"/>
          </p:nvPr>
        </p:nvSpPr>
        <p:spPr>
          <a:xfrm>
            <a:off x="3550919" y="-1"/>
            <a:ext cx="5593078" cy="5142291"/>
          </a:xfrm>
          <a:custGeom>
            <a:avLst/>
            <a:gdLst>
              <a:gd name="connsiteX0" fmla="*/ 3513470 w 5593078"/>
              <a:gd name="connsiteY0" fmla="*/ 0 h 5142291"/>
              <a:gd name="connsiteX1" fmla="*/ 5593078 w 5593078"/>
              <a:gd name="connsiteY1" fmla="*/ 0 h 5142291"/>
              <a:gd name="connsiteX2" fmla="*/ 5593078 w 5593078"/>
              <a:gd name="connsiteY2" fmla="*/ 1424535 h 5142291"/>
              <a:gd name="connsiteX3" fmla="*/ 3052921 w 5593078"/>
              <a:gd name="connsiteY3" fmla="*/ 5142291 h 5142291"/>
              <a:gd name="connsiteX4" fmla="*/ 0 w 5593078"/>
              <a:gd name="connsiteY4" fmla="*/ 5142291 h 514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3078" h="5142291">
                <a:moveTo>
                  <a:pt x="3513470" y="0"/>
                </a:moveTo>
                <a:lnTo>
                  <a:pt x="5593078" y="0"/>
                </a:lnTo>
                <a:lnTo>
                  <a:pt x="5593078" y="1424535"/>
                </a:lnTo>
                <a:lnTo>
                  <a:pt x="3052921" y="5142291"/>
                </a:lnTo>
                <a:lnTo>
                  <a:pt x="0" y="514229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4766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100" b="0" i="0">
                <a:solidFill>
                  <a:srgbClr val="454545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25" b="0" i="0">
                <a:solidFill>
                  <a:srgbClr val="454545"/>
                </a:solidFill>
                <a:latin typeface="Trebuchet MS"/>
                <a:cs typeface="Trebuchet MS"/>
              </a:defRPr>
            </a:lvl1pPr>
          </a:lstStyle>
          <a:p>
            <a:pPr marL="9525">
              <a:spcBef>
                <a:spcPts val="34"/>
              </a:spcBef>
            </a:pPr>
            <a:r>
              <a:rPr lang="en-US" spc="-45"/>
              <a:t>Copyright </a:t>
            </a:r>
            <a:r>
              <a:rPr lang="en-US" spc="98"/>
              <a:t>©</a:t>
            </a:r>
            <a:r>
              <a:rPr lang="en-US" spc="-124"/>
              <a:t> </a:t>
            </a:r>
            <a:r>
              <a:rPr lang="en-US" spc="-26"/>
              <a:t>2020 </a:t>
            </a:r>
            <a:r>
              <a:rPr lang="en-US" spc="-49"/>
              <a:t>Accenture All </a:t>
            </a:r>
            <a:r>
              <a:rPr lang="en-US" spc="-41"/>
              <a:t>rights </a:t>
            </a:r>
            <a:r>
              <a:rPr lang="en-US" spc="-53"/>
              <a:t>reserved.</a:t>
            </a:r>
            <a:endParaRPr lang="en-US" spc="-53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1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25" b="0" i="0">
                <a:solidFill>
                  <a:srgbClr val="A6A6A6"/>
                </a:solidFill>
                <a:latin typeface="Trebuchet MS"/>
                <a:cs typeface="Trebuchet MS"/>
              </a:defRPr>
            </a:lvl1pPr>
          </a:lstStyle>
          <a:p>
            <a:pPr marL="28575">
              <a:spcBef>
                <a:spcPts val="34"/>
              </a:spcBef>
            </a:pPr>
            <a:fld id="{81D60167-4931-47E6-BA6A-407CBD079E47}" type="slidenum">
              <a:rPr lang="en-IN" spc="-15" smtClean="0"/>
              <a:pPr marL="28575">
                <a:spcBef>
                  <a:spcPts val="34"/>
                </a:spcBef>
              </a:pPr>
              <a:t>‹#›</a:t>
            </a:fld>
            <a:endParaRPr lang="en-IN" spc="-15" dirty="0"/>
          </a:p>
        </p:txBody>
      </p:sp>
    </p:spTree>
    <p:extLst>
      <p:ext uri="{BB962C8B-B14F-4D97-AF65-F5344CB8AC3E}">
        <p14:creationId xmlns:p14="http://schemas.microsoft.com/office/powerpoint/2010/main" val="3935554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25" b="0" i="0">
                <a:solidFill>
                  <a:srgbClr val="454545"/>
                </a:solidFill>
                <a:latin typeface="Trebuchet MS"/>
                <a:cs typeface="Trebuchet MS"/>
              </a:defRPr>
            </a:lvl1pPr>
          </a:lstStyle>
          <a:p>
            <a:pPr marL="9525">
              <a:spcBef>
                <a:spcPts val="34"/>
              </a:spcBef>
            </a:pPr>
            <a:r>
              <a:rPr lang="en-US" spc="-45"/>
              <a:t>Copyright </a:t>
            </a:r>
            <a:r>
              <a:rPr lang="en-US" spc="98"/>
              <a:t>©</a:t>
            </a:r>
            <a:r>
              <a:rPr lang="en-US" spc="-124"/>
              <a:t> </a:t>
            </a:r>
            <a:r>
              <a:rPr lang="en-US" spc="-26"/>
              <a:t>2020 </a:t>
            </a:r>
            <a:r>
              <a:rPr lang="en-US" spc="-49"/>
              <a:t>Accenture All </a:t>
            </a:r>
            <a:r>
              <a:rPr lang="en-US" spc="-41"/>
              <a:t>rights </a:t>
            </a:r>
            <a:r>
              <a:rPr lang="en-US" spc="-53"/>
              <a:t>reserved.</a:t>
            </a:r>
            <a:endParaRPr lang="en-US" spc="-53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1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25" b="0" i="0">
                <a:solidFill>
                  <a:srgbClr val="A6A6A6"/>
                </a:solidFill>
                <a:latin typeface="Trebuchet MS"/>
                <a:cs typeface="Trebuchet MS"/>
              </a:defRPr>
            </a:lvl1pPr>
          </a:lstStyle>
          <a:p>
            <a:pPr marL="28575">
              <a:spcBef>
                <a:spcPts val="34"/>
              </a:spcBef>
            </a:pPr>
            <a:fld id="{81D60167-4931-47E6-BA6A-407CBD079E47}" type="slidenum">
              <a:rPr lang="en-IN" spc="-15" smtClean="0"/>
              <a:pPr marL="28575">
                <a:spcBef>
                  <a:spcPts val="34"/>
                </a:spcBef>
              </a:pPr>
              <a:t>‹#›</a:t>
            </a:fld>
            <a:endParaRPr lang="en-IN" spc="-15" dirty="0"/>
          </a:p>
        </p:txBody>
      </p:sp>
    </p:spTree>
    <p:extLst>
      <p:ext uri="{BB962C8B-B14F-4D97-AF65-F5344CB8AC3E}">
        <p14:creationId xmlns:p14="http://schemas.microsoft.com/office/powerpoint/2010/main" val="471453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479909" y="431249"/>
            <a:ext cx="2115374" cy="4281002"/>
            <a:chOff x="995680" y="1557580"/>
            <a:chExt cx="3007360" cy="2981194"/>
          </a:xfrm>
        </p:grpSpPr>
        <p:sp>
          <p:nvSpPr>
            <p:cNvPr id="25" name="Parallelogram 24">
              <a:extLst>
                <a:ext uri="{FF2B5EF4-FFF2-40B4-BE49-F238E27FC236}">
                  <a16:creationId xmlns:a16="http://schemas.microsoft.com/office/drawing/2014/main" id="{B25477BB-C92C-40F9-8AA6-B8D978FBF12F}"/>
                </a:ext>
              </a:extLst>
            </p:cNvPr>
            <p:cNvSpPr/>
            <p:nvPr userDrawn="1"/>
          </p:nvSpPr>
          <p:spPr>
            <a:xfrm>
              <a:off x="1717040" y="1979607"/>
              <a:ext cx="2286000" cy="2519362"/>
            </a:xfrm>
            <a:prstGeom prst="parallelogram">
              <a:avLst>
                <a:gd name="adj" fmla="val 45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6" name="Parallelogram 25">
              <a:extLst>
                <a:ext uri="{FF2B5EF4-FFF2-40B4-BE49-F238E27FC236}">
                  <a16:creationId xmlns:a16="http://schemas.microsoft.com/office/drawing/2014/main" id="{F1405898-4D5F-412E-A8AE-860CB693DDEA}"/>
                </a:ext>
              </a:extLst>
            </p:cNvPr>
            <p:cNvSpPr/>
            <p:nvPr userDrawn="1"/>
          </p:nvSpPr>
          <p:spPr>
            <a:xfrm>
              <a:off x="995680" y="1557580"/>
              <a:ext cx="3007360" cy="2981194"/>
            </a:xfrm>
            <a:prstGeom prst="parallelogram">
              <a:avLst>
                <a:gd name="adj" fmla="val 39548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6262" y="401793"/>
            <a:ext cx="4206976" cy="4191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lang="en-US" sz="21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171450" lvl="0" indent="-17145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/>
              <a:t>Agenda</a:t>
            </a:r>
          </a:p>
        </p:txBody>
      </p:sp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36262" y="1254215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39883" y="1249722"/>
            <a:ext cx="5309149" cy="336892"/>
          </a:xfrm>
          <a:prstGeom prst="rect">
            <a:avLst/>
          </a:prstGeom>
        </p:spPr>
        <p:txBody>
          <a:bodyPr lIns="0" anchor="ctr"/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None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171450" lvl="0" indent="-17145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36262" y="1953462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9883" y="1948969"/>
            <a:ext cx="5309149" cy="336892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36262" y="2625815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39883" y="2621322"/>
            <a:ext cx="5309149" cy="336892"/>
          </a:xfrm>
          <a:prstGeom prst="rect">
            <a:avLst/>
          </a:prstGeom>
        </p:spPr>
        <p:txBody>
          <a:bodyPr lIns="0" anchor="ctr"/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None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171450" lvl="0" indent="-17145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/>
              <a:t>Click to edit Master text styles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36262" y="3298167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39883" y="3293674"/>
            <a:ext cx="5309149" cy="336892"/>
          </a:xfrm>
          <a:prstGeom prst="rect">
            <a:avLst/>
          </a:prstGeom>
        </p:spPr>
        <p:txBody>
          <a:bodyPr lIns="0" anchor="ctr"/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None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171450" lvl="0" indent="-17145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/>
              <a:t>Click to edit Master text styl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36262" y="4051203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2AAB4CD2-1DFF-4FE3-B542-AE0E2AB7A2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9883" y="4046710"/>
            <a:ext cx="5309149" cy="336892"/>
          </a:xfrm>
          <a:prstGeom prst="rect">
            <a:avLst/>
          </a:prstGeom>
        </p:spPr>
        <p:txBody>
          <a:bodyPr lIns="0" anchor="ctr"/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None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171450" lvl="0" indent="-17145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139C2CF3-DB5E-4DFD-93EA-24D61AF15076}"/>
              </a:ext>
            </a:extLst>
          </p:cNvPr>
          <p:cNvSpPr/>
          <p:nvPr userDrawn="1"/>
        </p:nvSpPr>
        <p:spPr>
          <a:xfrm>
            <a:off x="0" y="0"/>
            <a:ext cx="2541495" cy="5143500"/>
          </a:xfrm>
          <a:custGeom>
            <a:avLst/>
            <a:gdLst>
              <a:gd name="connsiteX0" fmla="*/ 0 w 2541495"/>
              <a:gd name="connsiteY0" fmla="*/ 0 h 5143500"/>
              <a:gd name="connsiteX1" fmla="*/ 2541495 w 2541495"/>
              <a:gd name="connsiteY1" fmla="*/ 0 h 5143500"/>
              <a:gd name="connsiteX2" fmla="*/ 1567704 w 2541495"/>
              <a:gd name="connsiteY2" fmla="*/ 5143500 h 5143500"/>
              <a:gd name="connsiteX3" fmla="*/ 0 w 2541495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1495" h="5143500">
                <a:moveTo>
                  <a:pt x="0" y="0"/>
                </a:moveTo>
                <a:lnTo>
                  <a:pt x="2541495" y="0"/>
                </a:lnTo>
                <a:lnTo>
                  <a:pt x="1567704" y="5143500"/>
                </a:lnTo>
                <a:lnTo>
                  <a:pt x="0" y="5143500"/>
                </a:lnTo>
                <a:close/>
              </a:path>
            </a:pathLst>
          </a:custGeom>
          <a:blipFill>
            <a:blip r:embed="rId3"/>
            <a:srcRect/>
            <a:stretch>
              <a:fillRect l="-76526" r="-12689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78706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>
          <p15:clr>
            <a:srgbClr val="A4A3A4"/>
          </p15:clr>
        </p15:guide>
        <p15:guide id="2" pos="216">
          <p15:clr>
            <a:srgbClr val="A4A3A4"/>
          </p15:clr>
        </p15:guide>
        <p15:guide id="3" pos="5544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72F333B-7A5F-4AF6-8D7D-43B53EBEB8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024" y="401793"/>
            <a:ext cx="8413953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19E6C2E-51C5-4B6E-9773-7E29CE725D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464" y="1411514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81AC512E-9E6A-41FC-A2C7-D96C51657CDF}"/>
              </a:ext>
            </a:extLst>
          </p:cNvPr>
          <p:cNvCxnSpPr>
            <a:cxnSpLocks/>
          </p:cNvCxnSpPr>
          <p:nvPr userDrawn="1"/>
        </p:nvCxnSpPr>
        <p:spPr>
          <a:xfrm>
            <a:off x="365024" y="1411514"/>
            <a:ext cx="0" cy="1317535"/>
          </a:xfrm>
          <a:prstGeom prst="straightConnector1">
            <a:avLst/>
          </a:prstGeom>
          <a:noFill/>
          <a:ln w="9525"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531E4A-1BCC-4482-9778-749472B51C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1" y="1874974"/>
            <a:ext cx="1564640" cy="854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300"/>
            </a:lvl1pPr>
            <a:lvl2pPr marL="342900" indent="0">
              <a:buFont typeface="Arial" panose="020B0604020202020204" pitchFamily="34" charset="0"/>
              <a:buNone/>
              <a:defRPr sz="1200"/>
            </a:lvl2pPr>
            <a:lvl3pPr marL="685800" indent="0">
              <a:buFont typeface="Arial" panose="020B0604020202020204" pitchFamily="34" charset="0"/>
              <a:buNone/>
              <a:defRPr sz="1200"/>
            </a:lvl3pPr>
            <a:lvl4pPr marL="1028700" indent="0">
              <a:buFont typeface="Arial" panose="020B0604020202020204" pitchFamily="34" charset="0"/>
              <a:buNone/>
              <a:defRPr sz="1200"/>
            </a:lvl4pPr>
            <a:lvl5pPr marL="13716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1808D1C7-0D38-4FD4-8CB7-439E026395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9248" y="1411514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5C49271-EF83-44BA-91BF-9732C5513B16}"/>
              </a:ext>
            </a:extLst>
          </p:cNvPr>
          <p:cNvCxnSpPr>
            <a:cxnSpLocks/>
          </p:cNvCxnSpPr>
          <p:nvPr userDrawn="1"/>
        </p:nvCxnSpPr>
        <p:spPr>
          <a:xfrm>
            <a:off x="2607808" y="1411514"/>
            <a:ext cx="0" cy="1317535"/>
          </a:xfrm>
          <a:prstGeom prst="straightConnector1">
            <a:avLst/>
          </a:prstGeom>
          <a:noFill/>
          <a:ln w="9525">
            <a:solidFill>
              <a:schemeClr val="accent3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D14F64EC-E47F-47E9-A2EC-2722D1D000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99985" y="1874974"/>
            <a:ext cx="1564640" cy="854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300"/>
            </a:lvl1pPr>
            <a:lvl2pPr marL="342900" indent="0">
              <a:buFont typeface="Arial" panose="020B0604020202020204" pitchFamily="34" charset="0"/>
              <a:buNone/>
              <a:defRPr sz="1200"/>
            </a:lvl2pPr>
            <a:lvl3pPr marL="685800" indent="0">
              <a:buFont typeface="Arial" panose="020B0604020202020204" pitchFamily="34" charset="0"/>
              <a:buNone/>
              <a:defRPr sz="1200"/>
            </a:lvl3pPr>
            <a:lvl4pPr marL="1028700" indent="0">
              <a:buFont typeface="Arial" panose="020B0604020202020204" pitchFamily="34" charset="0"/>
              <a:buNone/>
              <a:defRPr sz="1200"/>
            </a:lvl4pPr>
            <a:lvl5pPr marL="13716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DF50AD5-89A8-4556-A42F-9AEAD15120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70814" y="1411514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3DFD60BB-A704-4D00-9E37-11930FC402F9}"/>
              </a:ext>
            </a:extLst>
          </p:cNvPr>
          <p:cNvCxnSpPr>
            <a:cxnSpLocks/>
          </p:cNvCxnSpPr>
          <p:nvPr userDrawn="1"/>
        </p:nvCxnSpPr>
        <p:spPr>
          <a:xfrm>
            <a:off x="4879374" y="1411514"/>
            <a:ext cx="0" cy="1317535"/>
          </a:xfrm>
          <a:prstGeom prst="straightConnector1">
            <a:avLst/>
          </a:prstGeom>
          <a:noFill/>
          <a:ln w="9525"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173FBEF1-D2BE-4B2B-85A5-882FCA5757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71551" y="1874974"/>
            <a:ext cx="1564640" cy="854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300"/>
            </a:lvl1pPr>
            <a:lvl2pPr marL="342900" indent="0">
              <a:buFont typeface="Arial" panose="020B0604020202020204" pitchFamily="34" charset="0"/>
              <a:buNone/>
              <a:defRPr sz="1200"/>
            </a:lvl2pPr>
            <a:lvl3pPr marL="685800" indent="0">
              <a:buFont typeface="Arial" panose="020B0604020202020204" pitchFamily="34" charset="0"/>
              <a:buNone/>
              <a:defRPr sz="1200"/>
            </a:lvl3pPr>
            <a:lvl4pPr marL="1028700" indent="0">
              <a:buFont typeface="Arial" panose="020B0604020202020204" pitchFamily="34" charset="0"/>
              <a:buNone/>
              <a:defRPr sz="1200"/>
            </a:lvl4pPr>
            <a:lvl5pPr marL="13716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D3BCABCD-3678-4CAA-BE4B-A86439991A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13599" y="1411514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A1349571-B869-4B71-A9DE-F7498D76ACB8}"/>
              </a:ext>
            </a:extLst>
          </p:cNvPr>
          <p:cNvCxnSpPr>
            <a:cxnSpLocks/>
          </p:cNvCxnSpPr>
          <p:nvPr userDrawn="1"/>
        </p:nvCxnSpPr>
        <p:spPr>
          <a:xfrm>
            <a:off x="7122159" y="1411514"/>
            <a:ext cx="0" cy="1317535"/>
          </a:xfrm>
          <a:prstGeom prst="straightConnector1">
            <a:avLst/>
          </a:prstGeom>
          <a:noFill/>
          <a:ln w="9525">
            <a:solidFill>
              <a:schemeClr val="accent3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D1696AE0-01AC-40C8-911E-18A48D1A64C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14336" y="1874974"/>
            <a:ext cx="1564640" cy="854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300"/>
            </a:lvl1pPr>
            <a:lvl2pPr marL="342900" indent="0">
              <a:buFont typeface="Arial" panose="020B0604020202020204" pitchFamily="34" charset="0"/>
              <a:buNone/>
              <a:defRPr sz="1200"/>
            </a:lvl2pPr>
            <a:lvl3pPr marL="685800" indent="0">
              <a:buFont typeface="Arial" panose="020B0604020202020204" pitchFamily="34" charset="0"/>
              <a:buNone/>
              <a:defRPr sz="1200"/>
            </a:lvl3pPr>
            <a:lvl4pPr marL="1028700" indent="0">
              <a:buFont typeface="Arial" panose="020B0604020202020204" pitchFamily="34" charset="0"/>
              <a:buNone/>
              <a:defRPr sz="1200"/>
            </a:lvl4pPr>
            <a:lvl5pPr marL="13716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D95F6A9B-CC95-421F-9005-C8F1877477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6464" y="3245575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94BF64A-D73B-4235-A908-3FC0CB7375ED}"/>
              </a:ext>
            </a:extLst>
          </p:cNvPr>
          <p:cNvCxnSpPr>
            <a:cxnSpLocks/>
          </p:cNvCxnSpPr>
          <p:nvPr userDrawn="1"/>
        </p:nvCxnSpPr>
        <p:spPr>
          <a:xfrm>
            <a:off x="365024" y="3245575"/>
            <a:ext cx="0" cy="1317535"/>
          </a:xfrm>
          <a:prstGeom prst="straightConnector1">
            <a:avLst/>
          </a:prstGeom>
          <a:noFill/>
          <a:ln w="9525">
            <a:solidFill>
              <a:schemeClr val="accent3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1B34C01B-86AF-4EFB-B62F-FD4ADA6422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7201" y="3709035"/>
            <a:ext cx="1564640" cy="854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300"/>
            </a:lvl1pPr>
            <a:lvl2pPr marL="342900" indent="0">
              <a:buFont typeface="Arial" panose="020B0604020202020204" pitchFamily="34" charset="0"/>
              <a:buNone/>
              <a:defRPr sz="1200"/>
            </a:lvl2pPr>
            <a:lvl3pPr marL="685800" indent="0">
              <a:buFont typeface="Arial" panose="020B0604020202020204" pitchFamily="34" charset="0"/>
              <a:buNone/>
              <a:defRPr sz="1200"/>
            </a:lvl3pPr>
            <a:lvl4pPr marL="1028700" indent="0">
              <a:buFont typeface="Arial" panose="020B0604020202020204" pitchFamily="34" charset="0"/>
              <a:buNone/>
              <a:defRPr sz="1200"/>
            </a:lvl4pPr>
            <a:lvl5pPr marL="13716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5E64E136-150B-4F91-8291-4A305F1F64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99248" y="3245575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6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A2871006-DDC1-4AB6-9781-27AE45C7BD8A}"/>
              </a:ext>
            </a:extLst>
          </p:cNvPr>
          <p:cNvCxnSpPr>
            <a:cxnSpLocks/>
          </p:cNvCxnSpPr>
          <p:nvPr userDrawn="1"/>
        </p:nvCxnSpPr>
        <p:spPr>
          <a:xfrm>
            <a:off x="2607808" y="3245575"/>
            <a:ext cx="0" cy="1317535"/>
          </a:xfrm>
          <a:prstGeom prst="straightConnector1">
            <a:avLst/>
          </a:prstGeom>
          <a:noFill/>
          <a:ln w="9525"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3BC9DE86-A8DB-4751-BAD4-51E672D9DCA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99985" y="3709035"/>
            <a:ext cx="1564640" cy="854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300"/>
            </a:lvl1pPr>
            <a:lvl2pPr marL="342900" indent="0">
              <a:buFont typeface="Arial" panose="020B0604020202020204" pitchFamily="34" charset="0"/>
              <a:buNone/>
              <a:defRPr sz="1200"/>
            </a:lvl2pPr>
            <a:lvl3pPr marL="685800" indent="0">
              <a:buFont typeface="Arial" panose="020B0604020202020204" pitchFamily="34" charset="0"/>
              <a:buNone/>
              <a:defRPr sz="1200"/>
            </a:lvl3pPr>
            <a:lvl4pPr marL="1028700" indent="0">
              <a:buFont typeface="Arial" panose="020B0604020202020204" pitchFamily="34" charset="0"/>
              <a:buNone/>
              <a:defRPr sz="1200"/>
            </a:lvl4pPr>
            <a:lvl5pPr marL="13716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DA1F248A-DA9F-49FD-BE5C-6284334CF6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70814" y="3245575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7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9D2AFA0A-2214-47BE-8EA7-FE494EC121B3}"/>
              </a:ext>
            </a:extLst>
          </p:cNvPr>
          <p:cNvCxnSpPr>
            <a:cxnSpLocks/>
          </p:cNvCxnSpPr>
          <p:nvPr userDrawn="1"/>
        </p:nvCxnSpPr>
        <p:spPr>
          <a:xfrm>
            <a:off x="4879374" y="3245575"/>
            <a:ext cx="0" cy="1317535"/>
          </a:xfrm>
          <a:prstGeom prst="straightConnector1">
            <a:avLst/>
          </a:prstGeom>
          <a:noFill/>
          <a:ln w="9525">
            <a:solidFill>
              <a:schemeClr val="accent3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201C2740-1D4E-412B-8539-021E6456CC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971551" y="3709035"/>
            <a:ext cx="1564640" cy="854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300"/>
            </a:lvl1pPr>
            <a:lvl2pPr marL="342900" indent="0">
              <a:buFont typeface="Arial" panose="020B0604020202020204" pitchFamily="34" charset="0"/>
              <a:buNone/>
              <a:defRPr sz="1200"/>
            </a:lvl2pPr>
            <a:lvl3pPr marL="685800" indent="0">
              <a:buFont typeface="Arial" panose="020B0604020202020204" pitchFamily="34" charset="0"/>
              <a:buNone/>
              <a:defRPr sz="1200"/>
            </a:lvl3pPr>
            <a:lvl4pPr marL="1028700" indent="0">
              <a:buFont typeface="Arial" panose="020B0604020202020204" pitchFamily="34" charset="0"/>
              <a:buNone/>
              <a:defRPr sz="1200"/>
            </a:lvl4pPr>
            <a:lvl5pPr marL="13716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6645EE5E-DE91-43B5-A20B-6E858F0803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13599" y="3245575"/>
            <a:ext cx="522878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bIns="0" anchor="ctr">
            <a:spAutoFit/>
          </a:bodyPr>
          <a:lstStyle>
            <a:lvl1pPr marL="0" indent="0" algn="r">
              <a:spcBef>
                <a:spcPts val="800"/>
              </a:spcBef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08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322D3BB6-A9DF-444D-A1C3-F3DD274A2B8B}"/>
              </a:ext>
            </a:extLst>
          </p:cNvPr>
          <p:cNvCxnSpPr>
            <a:cxnSpLocks/>
          </p:cNvCxnSpPr>
          <p:nvPr userDrawn="1"/>
        </p:nvCxnSpPr>
        <p:spPr>
          <a:xfrm>
            <a:off x="7122159" y="3245575"/>
            <a:ext cx="0" cy="1317535"/>
          </a:xfrm>
          <a:prstGeom prst="straightConnector1">
            <a:avLst/>
          </a:prstGeom>
          <a:noFill/>
          <a:ln w="9525"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385073BB-5A63-437F-A980-709BF8D5163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14336" y="3709035"/>
            <a:ext cx="1564640" cy="854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300"/>
            </a:lvl1pPr>
            <a:lvl2pPr marL="342900" indent="0">
              <a:buFont typeface="Arial" panose="020B0604020202020204" pitchFamily="34" charset="0"/>
              <a:buNone/>
              <a:defRPr sz="1200"/>
            </a:lvl2pPr>
            <a:lvl3pPr marL="685800" indent="0">
              <a:buFont typeface="Arial" panose="020B0604020202020204" pitchFamily="34" charset="0"/>
              <a:buNone/>
              <a:defRPr sz="1200"/>
            </a:lvl3pPr>
            <a:lvl4pPr marL="1028700" indent="0">
              <a:buFont typeface="Arial" panose="020B0604020202020204" pitchFamily="34" charset="0"/>
              <a:buNone/>
              <a:defRPr sz="1200"/>
            </a:lvl4pPr>
            <a:lvl5pPr marL="1371600" indent="0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204777A-859B-40E7-B711-DF03356C8D5D}"/>
              </a:ext>
            </a:extLst>
          </p:cNvPr>
          <p:cNvCxnSpPr>
            <a:cxnSpLocks/>
          </p:cNvCxnSpPr>
          <p:nvPr userDrawn="1"/>
        </p:nvCxnSpPr>
        <p:spPr>
          <a:xfrm>
            <a:off x="456464" y="1310640"/>
            <a:ext cx="522878" cy="0"/>
          </a:xfrm>
          <a:prstGeom prst="line">
            <a:avLst/>
          </a:prstGeom>
          <a:noFill/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E370DE7-AFD0-4DEF-B387-7D55BEAC776E}"/>
              </a:ext>
            </a:extLst>
          </p:cNvPr>
          <p:cNvCxnSpPr>
            <a:cxnSpLocks/>
          </p:cNvCxnSpPr>
          <p:nvPr userDrawn="1"/>
        </p:nvCxnSpPr>
        <p:spPr>
          <a:xfrm>
            <a:off x="2699248" y="1310640"/>
            <a:ext cx="522878" cy="0"/>
          </a:xfrm>
          <a:prstGeom prst="line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D0DF8933-6F58-43C3-AF47-49A4CEA55625}"/>
              </a:ext>
            </a:extLst>
          </p:cNvPr>
          <p:cNvCxnSpPr>
            <a:cxnSpLocks/>
          </p:cNvCxnSpPr>
          <p:nvPr userDrawn="1"/>
        </p:nvCxnSpPr>
        <p:spPr>
          <a:xfrm>
            <a:off x="4970814" y="1310640"/>
            <a:ext cx="522878" cy="0"/>
          </a:xfrm>
          <a:prstGeom prst="line">
            <a:avLst/>
          </a:prstGeom>
          <a:noFill/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8AF7DAF4-5C57-4896-8B89-4FA2F3C27CBE}"/>
              </a:ext>
            </a:extLst>
          </p:cNvPr>
          <p:cNvCxnSpPr>
            <a:cxnSpLocks/>
          </p:cNvCxnSpPr>
          <p:nvPr userDrawn="1"/>
        </p:nvCxnSpPr>
        <p:spPr>
          <a:xfrm>
            <a:off x="7213599" y="1310640"/>
            <a:ext cx="522878" cy="0"/>
          </a:xfrm>
          <a:prstGeom prst="line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B69E561-4542-404E-B077-3A64992F27AA}"/>
              </a:ext>
            </a:extLst>
          </p:cNvPr>
          <p:cNvCxnSpPr>
            <a:cxnSpLocks/>
          </p:cNvCxnSpPr>
          <p:nvPr userDrawn="1"/>
        </p:nvCxnSpPr>
        <p:spPr>
          <a:xfrm>
            <a:off x="456464" y="3131820"/>
            <a:ext cx="522878" cy="0"/>
          </a:xfrm>
          <a:prstGeom prst="line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3422C53-5DF0-4FFE-8CD4-415DB9429D3E}"/>
              </a:ext>
            </a:extLst>
          </p:cNvPr>
          <p:cNvCxnSpPr>
            <a:cxnSpLocks/>
          </p:cNvCxnSpPr>
          <p:nvPr userDrawn="1"/>
        </p:nvCxnSpPr>
        <p:spPr>
          <a:xfrm>
            <a:off x="2699248" y="3131820"/>
            <a:ext cx="522878" cy="0"/>
          </a:xfrm>
          <a:prstGeom prst="line">
            <a:avLst/>
          </a:prstGeom>
          <a:noFill/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52E7E56-75A0-4384-8D1D-60A43E9101E3}"/>
              </a:ext>
            </a:extLst>
          </p:cNvPr>
          <p:cNvCxnSpPr>
            <a:cxnSpLocks/>
          </p:cNvCxnSpPr>
          <p:nvPr userDrawn="1"/>
        </p:nvCxnSpPr>
        <p:spPr>
          <a:xfrm>
            <a:off x="4970814" y="3131820"/>
            <a:ext cx="522878" cy="0"/>
          </a:xfrm>
          <a:prstGeom prst="line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5DEAE5B-10A4-4231-A952-05DAD8F6A124}"/>
              </a:ext>
            </a:extLst>
          </p:cNvPr>
          <p:cNvCxnSpPr>
            <a:cxnSpLocks/>
          </p:cNvCxnSpPr>
          <p:nvPr userDrawn="1"/>
        </p:nvCxnSpPr>
        <p:spPr>
          <a:xfrm>
            <a:off x="7213599" y="3131820"/>
            <a:ext cx="522878" cy="0"/>
          </a:xfrm>
          <a:prstGeom prst="line">
            <a:avLst/>
          </a:prstGeom>
          <a:noFill/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563773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>
          <p15:clr>
            <a:srgbClr val="A4A3A4"/>
          </p15:clr>
        </p15:guide>
        <p15:guide id="2" pos="216">
          <p15:clr>
            <a:srgbClr val="A4A3A4"/>
          </p15:clr>
        </p15:guide>
        <p15:guide id="3" pos="5544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9F6FD208-1318-4863-AA91-81B85E93BC08}"/>
              </a:ext>
            </a:extLst>
          </p:cNvPr>
          <p:cNvSpPr/>
          <p:nvPr userDrawn="1"/>
        </p:nvSpPr>
        <p:spPr>
          <a:xfrm>
            <a:off x="1417320" y="2255701"/>
            <a:ext cx="1788350" cy="2887799"/>
          </a:xfrm>
          <a:custGeom>
            <a:avLst/>
            <a:gdLst>
              <a:gd name="connsiteX0" fmla="*/ 0 w 3068510"/>
              <a:gd name="connsiteY0" fmla="*/ 0 h 4954981"/>
              <a:gd name="connsiteX1" fmla="*/ 1923667 w 3068510"/>
              <a:gd name="connsiteY1" fmla="*/ 0 h 4954981"/>
              <a:gd name="connsiteX2" fmla="*/ 3068510 w 3068510"/>
              <a:gd name="connsiteY2" fmla="*/ 4954981 h 4954981"/>
              <a:gd name="connsiteX3" fmla="*/ 0 w 3068510"/>
              <a:gd name="connsiteY3" fmla="*/ 4954981 h 4954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8510" h="4954981">
                <a:moveTo>
                  <a:pt x="0" y="0"/>
                </a:moveTo>
                <a:lnTo>
                  <a:pt x="1923667" y="0"/>
                </a:lnTo>
                <a:lnTo>
                  <a:pt x="3068510" y="4954981"/>
                </a:lnTo>
                <a:lnTo>
                  <a:pt x="0" y="49549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81A13D77-CD07-40DF-8F1B-B21CB52F072D}"/>
              </a:ext>
            </a:extLst>
          </p:cNvPr>
          <p:cNvSpPr/>
          <p:nvPr userDrawn="1"/>
        </p:nvSpPr>
        <p:spPr>
          <a:xfrm>
            <a:off x="2087880" y="3129331"/>
            <a:ext cx="1247330" cy="2014169"/>
          </a:xfrm>
          <a:custGeom>
            <a:avLst/>
            <a:gdLst>
              <a:gd name="connsiteX0" fmla="*/ 0 w 3068510"/>
              <a:gd name="connsiteY0" fmla="*/ 0 h 4954981"/>
              <a:gd name="connsiteX1" fmla="*/ 1923667 w 3068510"/>
              <a:gd name="connsiteY1" fmla="*/ 0 h 4954981"/>
              <a:gd name="connsiteX2" fmla="*/ 3068510 w 3068510"/>
              <a:gd name="connsiteY2" fmla="*/ 4954981 h 4954981"/>
              <a:gd name="connsiteX3" fmla="*/ 0 w 3068510"/>
              <a:gd name="connsiteY3" fmla="*/ 4954981 h 4954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8510" h="4954981">
                <a:moveTo>
                  <a:pt x="0" y="0"/>
                </a:moveTo>
                <a:lnTo>
                  <a:pt x="1923667" y="0"/>
                </a:lnTo>
                <a:lnTo>
                  <a:pt x="3068510" y="4954981"/>
                </a:lnTo>
                <a:lnTo>
                  <a:pt x="0" y="495498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20088" y="188519"/>
            <a:ext cx="647700" cy="155218"/>
          </a:xfrm>
          <a:prstGeom prst="rect">
            <a:avLst/>
          </a:prstGeom>
        </p:spPr>
      </p:pic>
      <p:sp>
        <p:nvSpPr>
          <p:cNvPr id="15" name="Parallelogram 14"/>
          <p:cNvSpPr/>
          <p:nvPr userDrawn="1"/>
        </p:nvSpPr>
        <p:spPr>
          <a:xfrm>
            <a:off x="8222456" y="4783930"/>
            <a:ext cx="330994" cy="215625"/>
          </a:xfrm>
          <a:prstGeom prst="parallelogram">
            <a:avLst>
              <a:gd name="adj" fmla="val 69173"/>
            </a:avLst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72F333B-7A5F-4AF6-8D7D-43B53EBEB8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90900" y="401793"/>
            <a:ext cx="5388077" cy="4191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1BC094FC-B086-4EA5-AD83-1E5790022B54}"/>
              </a:ext>
            </a:extLst>
          </p:cNvPr>
          <p:cNvSpPr/>
          <p:nvPr userDrawn="1"/>
        </p:nvSpPr>
        <p:spPr>
          <a:xfrm>
            <a:off x="0" y="1"/>
            <a:ext cx="3068510" cy="5143500"/>
          </a:xfrm>
          <a:custGeom>
            <a:avLst/>
            <a:gdLst>
              <a:gd name="connsiteX0" fmla="*/ 0 w 3068510"/>
              <a:gd name="connsiteY0" fmla="*/ 0 h 4954981"/>
              <a:gd name="connsiteX1" fmla="*/ 1923667 w 3068510"/>
              <a:gd name="connsiteY1" fmla="*/ 0 h 4954981"/>
              <a:gd name="connsiteX2" fmla="*/ 3068510 w 3068510"/>
              <a:gd name="connsiteY2" fmla="*/ 4954981 h 4954981"/>
              <a:gd name="connsiteX3" fmla="*/ 0 w 3068510"/>
              <a:gd name="connsiteY3" fmla="*/ 4954981 h 4954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8510" h="4954981">
                <a:moveTo>
                  <a:pt x="0" y="0"/>
                </a:moveTo>
                <a:lnTo>
                  <a:pt x="1923667" y="0"/>
                </a:lnTo>
                <a:lnTo>
                  <a:pt x="3068510" y="4954981"/>
                </a:lnTo>
                <a:lnTo>
                  <a:pt x="0" y="4954981"/>
                </a:lnTo>
                <a:close/>
              </a:path>
            </a:pathLst>
          </a:custGeom>
          <a:blipFill>
            <a:blip r:embed="rId3"/>
            <a:srcRect/>
            <a:stretch>
              <a:fillRect l="-84263" r="-6307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08B5F1-4FF9-4C49-9818-A56E3E07F8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0900" y="1056640"/>
            <a:ext cx="5387975" cy="357632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300" smtClean="0"/>
            </a:lvl1pPr>
            <a:lvl2pPr marL="325438" indent="-171450">
              <a:buFont typeface="Courier New" panose="02070309020205020404" pitchFamily="49" charset="0"/>
              <a:buChar char="o"/>
              <a:defRPr lang="en-US" sz="1200" smtClean="0"/>
            </a:lvl2pPr>
            <a:lvl3pPr>
              <a:defRPr lang="en-US" sz="1200" smtClean="0"/>
            </a:lvl3pPr>
            <a:lvl4pPr>
              <a:defRPr lang="en-US" sz="1200" smtClean="0"/>
            </a:lvl4pPr>
            <a:lvl5pPr>
              <a:defRPr lang="en-IN" sz="1200"/>
            </a:lvl5pPr>
          </a:lstStyle>
          <a:p>
            <a:pPr marL="171450" lvl="0" indent="-171450"/>
            <a:r>
              <a:rPr lang="en-US" dirty="0"/>
              <a:t>Text</a:t>
            </a:r>
          </a:p>
          <a:p>
            <a:pPr marL="171450" lvl="0" indent="-171450"/>
            <a:r>
              <a:rPr lang="en-US" dirty="0"/>
              <a:t>Text</a:t>
            </a:r>
          </a:p>
          <a:p>
            <a:pPr marL="171450" lvl="0" indent="-17145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32824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4">
          <p15:clr>
            <a:srgbClr val="A4A3A4"/>
          </p15:clr>
        </p15:guide>
        <p15:guide id="2" pos="216">
          <p15:clr>
            <a:srgbClr val="A4A3A4"/>
          </p15:clr>
        </p15:guide>
        <p15:guide id="3" pos="5544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68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2642867-FB3A-42D7-A763-09952A2A8E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204673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9" name="think-cell Slide" r:id="rId67" imgW="425" imgH="424" progId="TCLayout.ActiveDocument.1">
                  <p:embed/>
                </p:oleObj>
              </mc:Choice>
              <mc:Fallback>
                <p:oleObj name="think-cell Slide" r:id="rId67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9F52A036-623F-47EE-97AB-F98C5ED00A74}"/>
              </a:ext>
            </a:extLst>
          </p:cNvPr>
          <p:cNvSpPr txBox="1">
            <a:spLocks/>
          </p:cNvSpPr>
          <p:nvPr/>
        </p:nvSpPr>
        <p:spPr>
          <a:xfrm>
            <a:off x="8500345" y="4794187"/>
            <a:ext cx="500779" cy="195111"/>
          </a:xfrm>
          <a:prstGeom prst="rect">
            <a:avLst/>
          </a:prstGeom>
        </p:spPr>
        <p:txBody>
          <a:bodyPr lIns="0" rIns="0" anchor="ctr"/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US" sz="9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age</a:t>
            </a:r>
            <a:fld id="{246DA749-0E55-49B3-93D7-91FF92ECA617}" type="slidenum">
              <a:rPr sz="8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fontAlgn="auto">
                <a:spcAft>
                  <a:spcPts val="0"/>
                </a:spcAft>
                <a:defRPr/>
              </a:pPr>
              <a:t>‹#›</a:t>
            </a:fld>
            <a:endParaRPr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59" r:id="rId2"/>
    <p:sldLayoutId id="2147483860" r:id="rId3"/>
    <p:sldLayoutId id="2147483874" r:id="rId4"/>
    <p:sldLayoutId id="2147483875" r:id="rId5"/>
    <p:sldLayoutId id="2147483879" r:id="rId6"/>
    <p:sldLayoutId id="2147483898" r:id="rId7"/>
    <p:sldLayoutId id="2147483897" r:id="rId8"/>
    <p:sldLayoutId id="2147483899" r:id="rId9"/>
    <p:sldLayoutId id="2147483836" r:id="rId10"/>
    <p:sldLayoutId id="2147483852" r:id="rId11"/>
    <p:sldLayoutId id="2147483858" r:id="rId12"/>
    <p:sldLayoutId id="2147483838" r:id="rId13"/>
    <p:sldLayoutId id="2147483861" r:id="rId14"/>
    <p:sldLayoutId id="2147483862" r:id="rId15"/>
    <p:sldLayoutId id="2147483880" r:id="rId16"/>
    <p:sldLayoutId id="2147483853" r:id="rId17"/>
    <p:sldLayoutId id="2147483863" r:id="rId18"/>
    <p:sldLayoutId id="2147483864" r:id="rId19"/>
    <p:sldLayoutId id="2147483881" r:id="rId20"/>
    <p:sldLayoutId id="2147483854" r:id="rId21"/>
    <p:sldLayoutId id="2147483840" r:id="rId22"/>
    <p:sldLayoutId id="2147483837" r:id="rId23"/>
    <p:sldLayoutId id="2147483842" r:id="rId24"/>
    <p:sldLayoutId id="2147483843" r:id="rId25"/>
    <p:sldLayoutId id="2147483865" r:id="rId26"/>
    <p:sldLayoutId id="2147483866" r:id="rId27"/>
    <p:sldLayoutId id="2147483871" r:id="rId28"/>
    <p:sldLayoutId id="2147483876" r:id="rId29"/>
    <p:sldLayoutId id="2147483877" r:id="rId30"/>
    <p:sldLayoutId id="2147483882" r:id="rId31"/>
    <p:sldLayoutId id="2147483844" r:id="rId32"/>
    <p:sldLayoutId id="2147483846" r:id="rId33"/>
    <p:sldLayoutId id="2147483857" r:id="rId34"/>
    <p:sldLayoutId id="2147483845" r:id="rId35"/>
    <p:sldLayoutId id="2147483900" r:id="rId36"/>
    <p:sldLayoutId id="2147483855" r:id="rId37"/>
    <p:sldLayoutId id="2147483867" r:id="rId38"/>
    <p:sldLayoutId id="2147483868" r:id="rId39"/>
    <p:sldLayoutId id="2147483883" r:id="rId40"/>
    <p:sldLayoutId id="2147483847" r:id="rId41"/>
    <p:sldLayoutId id="2147483869" r:id="rId42"/>
    <p:sldLayoutId id="2147483870" r:id="rId43"/>
    <p:sldLayoutId id="2147483884" r:id="rId44"/>
    <p:sldLayoutId id="2147483856" r:id="rId45"/>
    <p:sldLayoutId id="2147483878" r:id="rId46"/>
    <p:sldLayoutId id="2147483887" r:id="rId47"/>
    <p:sldLayoutId id="2147483886" r:id="rId48"/>
    <p:sldLayoutId id="2147483888" r:id="rId49"/>
    <p:sldLayoutId id="2147483889" r:id="rId50"/>
    <p:sldLayoutId id="2147483890" r:id="rId51"/>
    <p:sldLayoutId id="2147483891" r:id="rId52"/>
    <p:sldLayoutId id="2147483892" r:id="rId53"/>
    <p:sldLayoutId id="2147483893" r:id="rId54"/>
    <p:sldLayoutId id="2147483894" r:id="rId55"/>
    <p:sldLayoutId id="2147483895" r:id="rId56"/>
    <p:sldLayoutId id="2147483841" r:id="rId57"/>
    <p:sldLayoutId id="2147483872" r:id="rId58"/>
    <p:sldLayoutId id="2147483873" r:id="rId59"/>
    <p:sldLayoutId id="2147483885" r:id="rId60"/>
    <p:sldLayoutId id="2147483901" r:id="rId61"/>
    <p:sldLayoutId id="2147483903" r:id="rId62"/>
  </p:sldLayoutIdLst>
  <p:hf sldNum="0" hdr="0" ftr="0" dt="0"/>
  <p:txStyles>
    <p:titleStyle>
      <a:lvl1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panose="020B0604020202020204" pitchFamily="34" charset="0"/>
        </a:defRPr>
      </a:lvl2pPr>
      <a:lvl3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panose="020B0604020202020204" pitchFamily="34" charset="0"/>
        </a:defRPr>
      </a:lvl3pPr>
      <a:lvl4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panose="020B0604020202020204" pitchFamily="34" charset="0"/>
        </a:defRPr>
      </a:lvl4pPr>
      <a:lvl5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panose="020B0604020202020204" pitchFamily="34" charset="0"/>
        </a:defRPr>
      </a:lvl5pPr>
      <a:lvl6pPr marL="4572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panose="020B0604020202020204" pitchFamily="34" charset="0"/>
        </a:defRPr>
      </a:lvl6pPr>
      <a:lvl7pPr marL="9144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panose="020B0604020202020204" pitchFamily="34" charset="0"/>
        </a:defRPr>
      </a:lvl7pPr>
      <a:lvl8pPr marL="13716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panose="020B0604020202020204" pitchFamily="34" charset="0"/>
        </a:defRPr>
      </a:lvl8pPr>
      <a:lvl9pPr marL="18288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171450" indent="-171450" algn="l" defTabSz="685800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1pPr>
      <a:lvl2pPr marL="5143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2pPr>
      <a:lvl3pPr marL="8572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11891C7-4233-4F6B-9D09-CAAA50F63D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1704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0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8FD80-C894-4A7C-B18E-98031F8BCC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0149" y="1721278"/>
            <a:ext cx="3615451" cy="461665"/>
          </a:xfrm>
        </p:spPr>
        <p:txBody>
          <a:bodyPr/>
          <a:lstStyle/>
          <a:p>
            <a:r>
              <a:rPr lang="de-DE" dirty="0"/>
              <a:t>IPF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B41335E-7E0D-4285-843F-17FBCF2375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14" y="1064549"/>
            <a:ext cx="7910213" cy="646331"/>
          </a:xfrm>
        </p:spPr>
        <p:txBody>
          <a:bodyPr wrap="square">
            <a:noAutofit/>
          </a:bodyPr>
          <a:lstStyle/>
          <a:p>
            <a:r>
              <a:rPr lang="en-IN" sz="3200" dirty="0"/>
              <a:t>“Location Based address”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B55D7E5-56E1-490E-9C3B-424C2C07693C}"/>
              </a:ext>
            </a:extLst>
          </p:cNvPr>
          <p:cNvCxnSpPr/>
          <p:nvPr/>
        </p:nvCxnSpPr>
        <p:spPr>
          <a:xfrm>
            <a:off x="671945" y="1328805"/>
            <a:ext cx="1697182" cy="0"/>
          </a:xfrm>
          <a:prstGeom prst="lin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00FA46CA-033C-4A17-927F-220D64B23BDB}"/>
              </a:ext>
            </a:extLst>
          </p:cNvPr>
          <p:cNvSpPr txBox="1"/>
          <p:nvPr/>
        </p:nvSpPr>
        <p:spPr>
          <a:xfrm>
            <a:off x="583122" y="611902"/>
            <a:ext cx="1874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32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984986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0050E2A-B095-460F-817E-9507779E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687" t="16868" r="35579" b="20658"/>
          <a:stretch/>
        </p:blipFill>
        <p:spPr>
          <a:xfrm>
            <a:off x="312420" y="1859280"/>
            <a:ext cx="7749540" cy="2964180"/>
          </a:xfrm>
          <a:prstGeom prst="rect">
            <a:avLst/>
          </a:prstGeom>
          <a:noFill/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487A829-0177-4112-8453-AD2113F537A2}"/>
              </a:ext>
            </a:extLst>
          </p:cNvPr>
          <p:cNvSpPr txBox="1"/>
          <p:nvPr/>
        </p:nvSpPr>
        <p:spPr>
          <a:xfrm>
            <a:off x="1333500" y="426720"/>
            <a:ext cx="5753100" cy="373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How IPFS Does The Work</a:t>
            </a:r>
          </a:p>
        </p:txBody>
      </p:sp>
    </p:spTree>
    <p:extLst>
      <p:ext uri="{BB962C8B-B14F-4D97-AF65-F5344CB8AC3E}">
        <p14:creationId xmlns:p14="http://schemas.microsoft.com/office/powerpoint/2010/main" val="2324022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74F2DC-7FA1-44C8-B0CD-2221AD4B124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84" t="18222" r="33251" b="26667"/>
          <a:stretch/>
        </p:blipFill>
        <p:spPr>
          <a:xfrm>
            <a:off x="716280" y="472440"/>
            <a:ext cx="7871460" cy="419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1716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A418F4-71E1-4D07-A9C6-4F1A930E1C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84" t="18222" r="35417" b="21926"/>
          <a:stretch/>
        </p:blipFill>
        <p:spPr>
          <a:xfrm>
            <a:off x="730046" y="609600"/>
            <a:ext cx="8055813" cy="415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8863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85F7D46-4BD5-414D-AF9E-A6416F80366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250" t="18370" r="37250" b="29630"/>
          <a:stretch/>
        </p:blipFill>
        <p:spPr>
          <a:xfrm>
            <a:off x="1120140" y="944880"/>
            <a:ext cx="7155180" cy="3665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0801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97FE73-0D87-4DBA-8C90-8181C92F0D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IN" dirty="0"/>
              <a:t>Flow OF IPFS WORK</a:t>
            </a:r>
          </a:p>
        </p:txBody>
      </p:sp>
      <p:pic>
        <p:nvPicPr>
          <p:cNvPr id="51202" name="Picture 2" descr="What is IPFS (Interplanetary FileSystem)? | by Gianmarco Guazzo | Coinmonks  | Medium">
            <a:extLst>
              <a:ext uri="{FF2B5EF4-FFF2-40B4-BE49-F238E27FC236}">
                <a16:creationId xmlns:a16="http://schemas.microsoft.com/office/drawing/2014/main" id="{7789592A-3583-4F2F-B73E-29F76F866C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75" y="1036320"/>
            <a:ext cx="8096250" cy="402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3764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60DD64E-7FA6-4C49-9B35-81339F87DB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94960" y="2007073"/>
            <a:ext cx="1131146" cy="844500"/>
          </a:xfrm>
        </p:spPr>
        <p:txBody>
          <a:bodyPr/>
          <a:lstStyle/>
          <a:p>
            <a:r>
              <a:rPr lang="en-IN" sz="6000" dirty="0">
                <a:latin typeface="Algerian" panose="04020705040A02060702" pitchFamily="82" charset="0"/>
              </a:rPr>
              <a:t>I</a:t>
            </a:r>
            <a:r>
              <a:rPr lang="en-IN" dirty="0"/>
              <a:t>nt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41A8CB-B492-4344-9F3E-B03DC0056C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148" t="27655" r="42000" b="32708"/>
          <a:stretch/>
        </p:blipFill>
        <p:spPr>
          <a:xfrm>
            <a:off x="230294" y="1666240"/>
            <a:ext cx="3826934" cy="2038773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C6FE8AC3-1761-42AD-ABE8-6F8EDF780DE0}"/>
              </a:ext>
            </a:extLst>
          </p:cNvPr>
          <p:cNvSpPr txBox="1">
            <a:spLocks/>
          </p:cNvSpPr>
          <p:nvPr/>
        </p:nvSpPr>
        <p:spPr>
          <a:xfrm>
            <a:off x="6160347" y="2007073"/>
            <a:ext cx="1717040" cy="844500"/>
          </a:xfrm>
          <a:prstGeom prst="rect">
            <a:avLst/>
          </a:prstGeom>
        </p:spPr>
        <p:txBody>
          <a:bodyPr lIns="0"/>
          <a:lstStyle>
            <a:lvl1pPr marL="0" indent="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1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900" indent="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2pPr>
            <a:lvl3pPr marL="8572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3pPr>
            <a:lvl4pPr marL="12001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300"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4pPr>
            <a:lvl5pPr marL="15430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300"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6000" dirty="0">
                <a:latin typeface="Algerian" panose="04020705040A02060702" pitchFamily="82" charset="0"/>
              </a:rPr>
              <a:t>P</a:t>
            </a:r>
            <a:r>
              <a:rPr lang="en-IN" b="1" i="0" dirty="0">
                <a:effectLst/>
                <a:latin typeface="arial" panose="020B0604020202020204" pitchFamily="34" charset="0"/>
              </a:rPr>
              <a:t>lanetary</a:t>
            </a:r>
            <a:endParaRPr lang="en-IN" dirty="0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4FB27288-025A-4056-99F1-0CAF11089BB7}"/>
              </a:ext>
            </a:extLst>
          </p:cNvPr>
          <p:cNvSpPr txBox="1">
            <a:spLocks/>
          </p:cNvSpPr>
          <p:nvPr/>
        </p:nvSpPr>
        <p:spPr>
          <a:xfrm>
            <a:off x="6331374" y="3023074"/>
            <a:ext cx="1131146" cy="844500"/>
          </a:xfrm>
          <a:prstGeom prst="rect">
            <a:avLst/>
          </a:prstGeom>
        </p:spPr>
        <p:txBody>
          <a:bodyPr lIns="0"/>
          <a:lstStyle>
            <a:lvl1pPr marL="0" indent="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1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900" indent="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2pPr>
            <a:lvl3pPr marL="8572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3pPr>
            <a:lvl4pPr marL="12001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300"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4pPr>
            <a:lvl5pPr marL="15430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300"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6000" dirty="0">
                <a:latin typeface="Algerian" panose="04020705040A02060702" pitchFamily="82" charset="0"/>
              </a:rPr>
              <a:t>F</a:t>
            </a:r>
            <a:r>
              <a:rPr lang="en-IN" dirty="0"/>
              <a:t>ile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DA3EE62B-4E52-4BC7-8615-C888D5D44E6C}"/>
              </a:ext>
            </a:extLst>
          </p:cNvPr>
          <p:cNvSpPr txBox="1">
            <a:spLocks/>
          </p:cNvSpPr>
          <p:nvPr/>
        </p:nvSpPr>
        <p:spPr>
          <a:xfrm>
            <a:off x="7074747" y="3032015"/>
            <a:ext cx="1452879" cy="844500"/>
          </a:xfrm>
          <a:prstGeom prst="rect">
            <a:avLst/>
          </a:prstGeom>
        </p:spPr>
        <p:txBody>
          <a:bodyPr lIns="0"/>
          <a:lstStyle>
            <a:lvl1pPr marL="0" indent="0" algn="l" defTabSz="6858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1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900" indent="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2pPr>
            <a:lvl3pPr marL="8572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3pPr>
            <a:lvl4pPr marL="12001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300"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4pPr>
            <a:lvl5pPr marL="15430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300" kern="1200">
                <a:solidFill>
                  <a:schemeClr val="tx1">
                    <a:lumMod val="85000"/>
                    <a:lumOff val="15000"/>
                  </a:schemeClr>
                </a:solidFill>
                <a:latin typeface="Avenir LT 65 Medium" panose="020B0603020000020003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6000" dirty="0">
                <a:latin typeface="Algerian" panose="04020705040A02060702" pitchFamily="82" charset="0"/>
              </a:rPr>
              <a:t>S</a:t>
            </a:r>
            <a:r>
              <a:rPr lang="en-IN" dirty="0"/>
              <a:t>ystem</a:t>
            </a:r>
          </a:p>
        </p:txBody>
      </p:sp>
    </p:spTree>
    <p:extLst>
      <p:ext uri="{BB962C8B-B14F-4D97-AF65-F5344CB8AC3E}">
        <p14:creationId xmlns:p14="http://schemas.microsoft.com/office/powerpoint/2010/main" val="2941011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5" grpId="0"/>
      <p:bldP spid="6" grpId="0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43EA28-F671-49C5-BC26-FCE2AF2F8D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69F63E7-FD0D-4D89-94E8-B64ABB25C9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N" dirty="0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0C16D2A-0316-41BD-ADE9-B87CC058C7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39883" y="1249722"/>
            <a:ext cx="5309149" cy="336892"/>
          </a:xfrm>
        </p:spPr>
        <p:txBody>
          <a:bodyPr lIns="0" tIns="45720" rIns="91440" bIns="45720" anchor="ctr"/>
          <a:lstStyle/>
          <a:p>
            <a:pPr marL="0" indent="0"/>
            <a:r>
              <a:rPr lang="en-US" sz="1100" dirty="0"/>
              <a:t>What Is IPFS?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EFBABDA-ADF0-43DA-991C-92F9E87F31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IN" dirty="0"/>
              <a:t>02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ACAADFD-3747-46E1-A71F-473AE08FC0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100" dirty="0"/>
              <a:t>How To Use IPFS?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53B581A-76EF-4E4C-AE0E-116B06F083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/>
              <a:t>0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DDC50F4-F262-43F5-88CF-909F0B6AA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1100" dirty="0"/>
              <a:t>How IPFS does this work?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1141648-74AF-45B3-A872-478AA03A08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IN" dirty="0"/>
              <a:t>04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1F470CE-11FC-44DF-BA7A-1281378B0B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marL="0" indent="0"/>
            <a:r>
              <a:rPr lang="en-US" sz="1100" dirty="0"/>
              <a:t>Flow of IPF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2B20AE5-FB3D-46F0-907C-4E1A574724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IN" dirty="0"/>
              <a:t>05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3810F579-0EE3-4B26-8E4C-97D17871C5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0" indent="0"/>
            <a:r>
              <a:rPr lang="en-US" sz="1100" dirty="0"/>
              <a:t>DEMO On </a:t>
            </a:r>
            <a:r>
              <a:rPr lang="en-IN" sz="11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Web3 Storage with IPFS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1156934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What is IPFS (InterPlanetary File System)? » Moralis » The Ultimate Web3  Development Platform">
            <a:extLst>
              <a:ext uri="{FF2B5EF4-FFF2-40B4-BE49-F238E27FC236}">
                <a16:creationId xmlns:a16="http://schemas.microsoft.com/office/drawing/2014/main" id="{07B566BD-2D2C-4ED0-88F1-4E26DAD354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33" r="-2" b="6175"/>
          <a:stretch/>
        </p:blipFill>
        <p:spPr bwMode="auto">
          <a:xfrm>
            <a:off x="131128" y="274002"/>
            <a:ext cx="8139112" cy="4595495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6996781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8735330" y="4842189"/>
            <a:ext cx="110490" cy="131286"/>
          </a:xfrm>
          <a:prstGeom prst="rect">
            <a:avLst/>
          </a:prstGeom>
        </p:spPr>
        <p:txBody>
          <a:bodyPr vert="horz" wrap="square" lIns="0" tIns="4286" rIns="0" bIns="0" rtlCol="0">
            <a:spAutoFit/>
          </a:bodyPr>
          <a:lstStyle/>
          <a:p>
            <a:pPr marL="28575">
              <a:spcBef>
                <a:spcPts val="34"/>
              </a:spcBef>
            </a:pPr>
            <a:fld id="{81D60167-4931-47E6-BA6A-407CBD079E47}" type="slidenum">
              <a:rPr lang="en-IN" sz="825" spc="-15" smtClean="0">
                <a:solidFill>
                  <a:srgbClr val="A6A6A6"/>
                </a:solidFill>
                <a:latin typeface="Trebuchet MS"/>
                <a:cs typeface="Trebuchet MS"/>
              </a:rPr>
              <a:pPr marL="28575">
                <a:spcBef>
                  <a:spcPts val="34"/>
                </a:spcBef>
              </a:pPr>
              <a:t>5</a:t>
            </a:fld>
            <a:endParaRPr lang="en-IN" sz="825">
              <a:latin typeface="Trebuchet MS"/>
              <a:cs typeface="Trebuchet M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A47213-3B89-4F4A-9401-6EA7076ED65B}"/>
              </a:ext>
            </a:extLst>
          </p:cNvPr>
          <p:cNvSpPr txBox="1"/>
          <p:nvPr/>
        </p:nvSpPr>
        <p:spPr>
          <a:xfrm>
            <a:off x="365024" y="552970"/>
            <a:ext cx="848079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0" i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IPFS is </a:t>
            </a:r>
            <a:r>
              <a:rPr lang="en-US" sz="1400" b="1" i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 peer-to-peer hypermedia protocol to make the web faster, safer, and more open</a:t>
            </a:r>
            <a:r>
              <a:rPr lang="en-US" sz="1400" b="0" i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 In addition, IPFS will use Filecoin as a reward mechanism.</a:t>
            </a:r>
            <a:endParaRPr lang="en-IN" sz="14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0211A2-EB95-4A9E-A169-4E3057942CD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852" t="6190" r="9556" b="11638"/>
          <a:stretch/>
        </p:blipFill>
        <p:spPr>
          <a:xfrm>
            <a:off x="365024" y="1326761"/>
            <a:ext cx="8370306" cy="3401025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2FE489-24C3-45B3-AB61-AF8D9406EC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445" t="18519" r="39778" b="27575"/>
          <a:stretch/>
        </p:blipFill>
        <p:spPr>
          <a:xfrm>
            <a:off x="406082" y="1171788"/>
            <a:ext cx="8331835" cy="343625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E5B7AB-FFB3-4734-A902-38458FBF42AC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>
          <a:xfrm>
            <a:off x="473498" y="535455"/>
            <a:ext cx="8413750" cy="419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IPFS is </a:t>
            </a:r>
            <a:r>
              <a:rPr lang="en-US" sz="1400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 peer-to-peer hypermedia protocol to make the web faster, safer, and more open</a:t>
            </a:r>
            <a:r>
              <a:rPr lang="en-US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 In addition, IPFS will use </a:t>
            </a:r>
            <a:r>
              <a:rPr lang="en-US" sz="1400" b="0" i="0" dirty="0" err="1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Filecoin</a:t>
            </a:r>
            <a:r>
              <a:rPr lang="en-US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 as a reward mechanism.</a:t>
            </a:r>
            <a:endParaRPr lang="en-IN" sz="14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67994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D2BB924-8902-4441-AB1F-CE65E5A161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60541" y="401793"/>
            <a:ext cx="5161915" cy="419100"/>
          </a:xfrm>
        </p:spPr>
        <p:txBody>
          <a:bodyPr>
            <a:normAutofit/>
          </a:bodyPr>
          <a:lstStyle/>
          <a:p>
            <a:r>
              <a:rPr lang="en-IN" dirty="0"/>
              <a:t>How To Use IPF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C4A8BF-2F1A-4D38-9E65-65DAF05BB3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249" t="15703" r="33501" b="26859"/>
          <a:stretch/>
        </p:blipFill>
        <p:spPr>
          <a:xfrm>
            <a:off x="3060641" y="1422252"/>
            <a:ext cx="5161915" cy="29035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995838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53D12BD-9C90-4466-97B2-061DD46B10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668" t="17332" r="33576" b="26964"/>
          <a:stretch/>
        </p:blipFill>
        <p:spPr>
          <a:xfrm>
            <a:off x="3060641" y="426720"/>
            <a:ext cx="5161915" cy="45186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481728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B41335E-7E0D-4285-843F-17FBCF2375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14" y="1064549"/>
            <a:ext cx="7910213" cy="646331"/>
          </a:xfrm>
        </p:spPr>
        <p:txBody>
          <a:bodyPr wrap="square">
            <a:noAutofit/>
          </a:bodyPr>
          <a:lstStyle/>
          <a:p>
            <a:r>
              <a:rPr lang="en-IN" sz="3200" dirty="0"/>
              <a:t>“Location Based address”</a:t>
            </a:r>
          </a:p>
        </p:txBody>
      </p:sp>
    </p:spTree>
    <p:extLst>
      <p:ext uri="{BB962C8B-B14F-4D97-AF65-F5344CB8AC3E}">
        <p14:creationId xmlns:p14="http://schemas.microsoft.com/office/powerpoint/2010/main" val="3252707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labera PPT Template 2019">
  <a:themeElements>
    <a:clrScheme name="Custom 4">
      <a:dk1>
        <a:sysClr val="windowText" lastClr="000000"/>
      </a:dk1>
      <a:lt1>
        <a:srgbClr val="FFFFFF"/>
      </a:lt1>
      <a:dk2>
        <a:srgbClr val="3F3F3F"/>
      </a:dk2>
      <a:lt2>
        <a:srgbClr val="0099A8"/>
      </a:lt2>
      <a:accent1>
        <a:srgbClr val="0055B8"/>
      </a:accent1>
      <a:accent2>
        <a:srgbClr val="002060"/>
      </a:accent2>
      <a:accent3>
        <a:srgbClr val="00A4E4"/>
      </a:accent3>
      <a:accent4>
        <a:srgbClr val="6A1A6A"/>
      </a:accent4>
      <a:accent5>
        <a:srgbClr val="FF9E16"/>
      </a:accent5>
      <a:accent6>
        <a:srgbClr val="D87900"/>
      </a:accent6>
      <a:hlink>
        <a:srgbClr val="002060"/>
      </a:hlink>
      <a:folHlink>
        <a:srgbClr val="0099A8"/>
      </a:folHlink>
    </a:clrScheme>
    <a:fontScheme name="Collabe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25400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Messaging_2" id="{5513C223-90DA-467B-8572-EFC33EBCE239}" vid="{7F899892-4A97-4E45-B123-2DCC82AF1C1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bf7ae2e-7a4c-42a5-99f4-2d9830b55ea0">
      <Terms xmlns="http://schemas.microsoft.com/office/infopath/2007/PartnerControls"/>
    </lcf76f155ced4ddcb4097134ff3c332f>
    <TaxCatchAll xmlns="e489556a-1c7c-4db3-b25a-a821329d516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46AE485EBAE0A479FA29A9FDC7EF0BE" ma:contentTypeVersion="15" ma:contentTypeDescription="Create a new document." ma:contentTypeScope="" ma:versionID="188ada749868be5b222cd39d8e791ef1">
  <xsd:schema xmlns:xsd="http://www.w3.org/2001/XMLSchema" xmlns:xs="http://www.w3.org/2001/XMLSchema" xmlns:p="http://schemas.microsoft.com/office/2006/metadata/properties" xmlns:ns2="fbf7ae2e-7a4c-42a5-99f4-2d9830b55ea0" xmlns:ns3="e489556a-1c7c-4db3-b25a-a821329d5165" targetNamespace="http://schemas.microsoft.com/office/2006/metadata/properties" ma:root="true" ma:fieldsID="5d03130685ca31a984f5e3822c21857d" ns2:_="" ns3:_="">
    <xsd:import namespace="fbf7ae2e-7a4c-42a5-99f4-2d9830b55ea0"/>
    <xsd:import namespace="e489556a-1c7c-4db3-b25a-a821329d516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f7ae2e-7a4c-42a5-99f4-2d9830b55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ed186d10-97f7-4892-a460-100f03a627e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89556a-1c7c-4db3-b25a-a821329d516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ed1fd026-6ff1-4ead-bc50-911241839a9c}" ma:internalName="TaxCatchAll" ma:showField="CatchAllData" ma:web="e489556a-1c7c-4db3-b25a-a821329d516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3A28F8D-E057-44C3-9FCF-8894E4B71EB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C1DA0A0-10F3-40F6-A342-F0D9F471F7FE}">
  <ds:schemaRefs>
    <ds:schemaRef ds:uri="http://schemas.openxmlformats.org/package/2006/metadata/core-properties"/>
    <ds:schemaRef ds:uri="http://www.w3.org/XML/1998/namespace"/>
    <ds:schemaRef ds:uri="fbf7ae2e-7a4c-42a5-99f4-2d9830b55ea0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terms/"/>
    <ds:schemaRef ds:uri="e489556a-1c7c-4db3-b25a-a821329d5165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D872F9D-F9D7-4842-8AE7-A6D5AE9D73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f7ae2e-7a4c-42a5-99f4-2d9830b55ea0"/>
    <ds:schemaRef ds:uri="e489556a-1c7c-4db3-b25a-a821329d516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TSS_2019_template</Template>
  <TotalTime>8772</TotalTime>
  <Words>120</Words>
  <Application>Microsoft Office PowerPoint</Application>
  <PresentationFormat>On-screen Show (16:9)</PresentationFormat>
  <Paragraphs>25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lgerian</vt:lpstr>
      <vt:lpstr>Arial</vt:lpstr>
      <vt:lpstr>Arial</vt:lpstr>
      <vt:lpstr>Avenir LT 65 Medium</vt:lpstr>
      <vt:lpstr>Calibri</vt:lpstr>
      <vt:lpstr>Courier New</vt:lpstr>
      <vt:lpstr>Trebuchet MS</vt:lpstr>
      <vt:lpstr>Collabera PPT Template 201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shma Rahi</dc:creator>
  <cp:lastModifiedBy>Sumayya Jamadar</cp:lastModifiedBy>
  <cp:revision>272</cp:revision>
  <dcterms:created xsi:type="dcterms:W3CDTF">2020-03-02T21:04:17Z</dcterms:created>
  <dcterms:modified xsi:type="dcterms:W3CDTF">2022-05-11T06:1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6AE485EBAE0A479FA29A9FDC7EF0BE</vt:lpwstr>
  </property>
  <property fmtid="{D5CDD505-2E9C-101B-9397-08002B2CF9AE}" pid="3" name="MediaServiceImageTags">
    <vt:lpwstr/>
  </property>
</Properties>
</file>